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5"/>
  </p:notesMasterIdLst>
  <p:handoutMasterIdLst>
    <p:handoutMasterId r:id="rId6"/>
  </p:handoutMasterIdLst>
  <p:sldIdLst>
    <p:sldId id="364" r:id="rId4"/>
  </p:sldIdLst>
  <p:sldSz cx="12192000" cy="6858000"/>
  <p:notesSz cx="6858000" cy="9144000"/>
  <p:custDataLst>
    <p:tags r:id="rId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489" autoAdjust="0"/>
    <p:restoredTop sz="94660"/>
  </p:normalViewPr>
  <p:slideViewPr>
    <p:cSldViewPr snapToGrid="0">
      <p:cViewPr varScale="1">
        <p:scale>
          <a:sx n="109" d="100"/>
          <a:sy n="109" d="100"/>
        </p:scale>
        <p:origin x="192" y="1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13" Type="http://schemas.microsoft.com/office/2018/10/relationships/authors" Target="authors.xml"/><Relationship Id="rId3" Type="http://schemas.openxmlformats.org/officeDocument/2006/relationships/slideMaster" Target="slideMasters/slideMaster1.xml"/><Relationship Id="rId7" Type="http://schemas.openxmlformats.org/officeDocument/2006/relationships/tags" Target="tags/tag1.xml"/><Relationship Id="rId12" Type="http://schemas.microsoft.com/office/2015/10/relationships/revisionInfo" Target="revisionInfo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handoutMaster" Target="handoutMasters/handoutMaster1.xml"/><Relationship Id="rId11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0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9/15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47345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3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90" name="think-cell 幻灯片" r:id="rId5" imgW="270" imgH="270" progId="TCLayout.ActiveDocument.1">
                  <p:embed/>
                </p:oleObj>
              </mc:Choice>
              <mc:Fallback>
                <p:oleObj name="think-cell 幻灯片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:p15="http://schemas.microsoft.com/office/powerpoint/2012/main" xmlns:a16="http://schemas.microsoft.com/office/drawing/2014/main" xmlns:v="urn:schemas-microsoft-com:vml"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13" Type="http://schemas.openxmlformats.org/officeDocument/2006/relationships/image" Target="../media/image9.png"/><Relationship Id="rId18" Type="http://schemas.openxmlformats.org/officeDocument/2006/relationships/image" Target="../media/image14.sv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png"/><Relationship Id="rId12" Type="http://schemas.openxmlformats.org/officeDocument/2006/relationships/image" Target="../media/image8.svg"/><Relationship Id="rId17" Type="http://schemas.openxmlformats.org/officeDocument/2006/relationships/image" Target="../media/image13.png"/><Relationship Id="rId2" Type="http://schemas.openxmlformats.org/officeDocument/2006/relationships/tags" Target="../tags/tag4.xml"/><Relationship Id="rId16" Type="http://schemas.openxmlformats.org/officeDocument/2006/relationships/image" Target="../media/image12.svg"/><Relationship Id="rId20" Type="http://schemas.openxmlformats.org/officeDocument/2006/relationships/image" Target="../media/image16.svg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11" Type="http://schemas.openxmlformats.org/officeDocument/2006/relationships/image" Target="../media/image7.png"/><Relationship Id="rId5" Type="http://schemas.openxmlformats.org/officeDocument/2006/relationships/oleObject" Target="../embeddings/oleObject3.bin"/><Relationship Id="rId15" Type="http://schemas.openxmlformats.org/officeDocument/2006/relationships/image" Target="../media/image11.png"/><Relationship Id="rId10" Type="http://schemas.openxmlformats.org/officeDocument/2006/relationships/image" Target="../media/image6.svg"/><Relationship Id="rId19" Type="http://schemas.openxmlformats.org/officeDocument/2006/relationships/image" Target="../media/image15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5.png"/><Relationship Id="rId14" Type="http://schemas.openxmlformats.org/officeDocument/2006/relationships/image" Target="../media/image10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887713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874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{</a:t>
            </a:r>
            <a:r>
              <a:rPr lang="en-US" dirty="0"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title</a:t>
            </a:r>
            <a:r>
              <a:rPr lang="en-US" dirty="0"/>
              <a:t>}</a:t>
            </a:r>
          </a:p>
        </p:txBody>
      </p:sp>
      <p:sp>
        <p:nvSpPr>
          <p:cNvPr id="26" name="Textplatzhalter 9">
            <a:extLst>
              <a:ext uri="{FF2B5EF4-FFF2-40B4-BE49-F238E27FC236}">
                <a16:creationId xmlns:a16="http://schemas.microsoft.com/office/drawing/2014/main" id="{F2D247D8-773E-462A-5D1E-267D374EF4E3}"/>
              </a:ext>
            </a:extLst>
          </p:cNvPr>
          <p:cNvSpPr txBox="1">
            <a:spLocks/>
          </p:cNvSpPr>
          <p:nvPr/>
        </p:nvSpPr>
        <p:spPr bwMode="gray">
          <a:xfrm>
            <a:off x="1888340" y="3614227"/>
            <a:ext cx="1170998" cy="738664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  <a:buClr>
                <a:srgbClr val="000000"/>
              </a:buClr>
            </a:pPr>
            <a:r>
              <a:rPr lang="en-US" sz="2400" dirty="0">
                <a:solidFill>
                  <a:schemeClr val="tx2"/>
                </a:solidFill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timeline_1}</a:t>
            </a:r>
            <a:endParaRPr lang="en-US" sz="1400" dirty="0">
              <a:solidFill>
                <a:schemeClr val="accent1"/>
              </a:solidFill>
              <a:latin typeface="理想品牌字体 2022" panose="02000500000000000000" pitchFamily="50" charset="-122"/>
              <a:ea typeface="理想品牌字体 2022" panose="02000500000000000000" pitchFamily="50" charset="-122"/>
              <a:cs typeface="理想品牌字体 2022" panose="02000500000000000000" pitchFamily="50" charset="-122"/>
            </a:endParaRPr>
          </a:p>
        </p:txBody>
      </p:sp>
      <p:sp>
        <p:nvSpPr>
          <p:cNvPr id="27" name="Textplatzhalter 9">
            <a:extLst>
              <a:ext uri="{FF2B5EF4-FFF2-40B4-BE49-F238E27FC236}">
                <a16:creationId xmlns:a16="http://schemas.microsoft.com/office/drawing/2014/main" id="{5C62BF4F-0E0D-5780-6FC9-7C57D8D5A922}"/>
              </a:ext>
            </a:extLst>
          </p:cNvPr>
          <p:cNvSpPr txBox="1">
            <a:spLocks/>
          </p:cNvSpPr>
          <p:nvPr/>
        </p:nvSpPr>
        <p:spPr bwMode="gray">
          <a:xfrm>
            <a:off x="5539364" y="3614227"/>
            <a:ext cx="1170998" cy="738664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  <a:buClr>
                <a:srgbClr val="000000"/>
              </a:buClr>
            </a:pPr>
            <a:r>
              <a:rPr lang="en-US" sz="2400" dirty="0">
                <a:solidFill>
                  <a:schemeClr val="tx2"/>
                </a:solidFill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timeline_2}</a:t>
            </a:r>
            <a:endParaRPr lang="en-US" sz="1400" dirty="0">
              <a:solidFill>
                <a:schemeClr val="accent1"/>
              </a:solidFill>
              <a:latin typeface="理想品牌字体 2022" panose="02000500000000000000" pitchFamily="50" charset="-122"/>
              <a:ea typeface="理想品牌字体 2022" panose="02000500000000000000" pitchFamily="50" charset="-122"/>
              <a:cs typeface="理想品牌字体 2022" panose="02000500000000000000" pitchFamily="50" charset="-122"/>
            </a:endParaRPr>
          </a:p>
        </p:txBody>
      </p:sp>
      <p:sp>
        <p:nvSpPr>
          <p:cNvPr id="28" name="Textplatzhalter 9">
            <a:extLst>
              <a:ext uri="{FF2B5EF4-FFF2-40B4-BE49-F238E27FC236}">
                <a16:creationId xmlns:a16="http://schemas.microsoft.com/office/drawing/2014/main" id="{5981F7C5-D01B-27C7-C25D-3C91C70277AB}"/>
              </a:ext>
            </a:extLst>
          </p:cNvPr>
          <p:cNvSpPr txBox="1">
            <a:spLocks/>
          </p:cNvSpPr>
          <p:nvPr/>
        </p:nvSpPr>
        <p:spPr bwMode="gray">
          <a:xfrm>
            <a:off x="9190392" y="3614227"/>
            <a:ext cx="1170998" cy="738664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  <a:buClr>
                <a:srgbClr val="000000"/>
              </a:buClr>
            </a:pPr>
            <a:r>
              <a:rPr lang="en-US" sz="2400" dirty="0">
                <a:solidFill>
                  <a:schemeClr val="tx2"/>
                </a:solidFill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timeline_3}</a:t>
            </a:r>
            <a:endParaRPr lang="en-US" sz="1400" dirty="0">
              <a:solidFill>
                <a:schemeClr val="accent1"/>
              </a:solidFill>
              <a:latin typeface="理想品牌字体 2022" panose="02000500000000000000" pitchFamily="50" charset="-122"/>
              <a:ea typeface="理想品牌字体 2022" panose="02000500000000000000" pitchFamily="50" charset="-122"/>
              <a:cs typeface="理想品牌字体 2022" panose="02000500000000000000" pitchFamily="50" charset="-122"/>
            </a:endParaRPr>
          </a:p>
        </p:txBody>
      </p:sp>
      <p:pic>
        <p:nvPicPr>
          <p:cNvPr id="29" name="Grafik 16">
            <a:extLst>
              <a:ext uri="{FF2B5EF4-FFF2-40B4-BE49-F238E27FC236}">
                <a16:creationId xmlns:a16="http://schemas.microsoft.com/office/drawing/2014/main" id="{8F25B329-B35D-D3BC-3461-885B1073B39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300928" y="5491873"/>
            <a:ext cx="600952" cy="600952"/>
          </a:xfrm>
          <a:prstGeom prst="rect">
            <a:avLst/>
          </a:prstGeom>
        </p:spPr>
      </p:pic>
      <p:pic>
        <p:nvPicPr>
          <p:cNvPr id="30" name="Grafik 18">
            <a:extLst>
              <a:ext uri="{FF2B5EF4-FFF2-40B4-BE49-F238E27FC236}">
                <a16:creationId xmlns:a16="http://schemas.microsoft.com/office/drawing/2014/main" id="{E9BEA578-0247-80E1-1844-29DFE35DADD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649901" y="5491873"/>
            <a:ext cx="600952" cy="600952"/>
          </a:xfrm>
          <a:prstGeom prst="rect">
            <a:avLst/>
          </a:prstGeom>
        </p:spPr>
      </p:pic>
      <p:pic>
        <p:nvPicPr>
          <p:cNvPr id="31" name="Grafik 20">
            <a:extLst>
              <a:ext uri="{FF2B5EF4-FFF2-40B4-BE49-F238E27FC236}">
                <a16:creationId xmlns:a16="http://schemas.microsoft.com/office/drawing/2014/main" id="{DA51130C-1A6D-E884-E849-00A616C58CA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3998875" y="5491873"/>
            <a:ext cx="600952" cy="600952"/>
          </a:xfrm>
          <a:prstGeom prst="rect">
            <a:avLst/>
          </a:prstGeom>
        </p:spPr>
      </p:pic>
      <p:cxnSp>
        <p:nvCxnSpPr>
          <p:cNvPr id="32" name="Gerader Verbinder 13">
            <a:extLst>
              <a:ext uri="{FF2B5EF4-FFF2-40B4-BE49-F238E27FC236}">
                <a16:creationId xmlns:a16="http://schemas.microsoft.com/office/drawing/2014/main" id="{B03F7F37-9FEC-26D0-E2AD-95A2E6482643}"/>
              </a:ext>
            </a:extLst>
          </p:cNvPr>
          <p:cNvCxnSpPr>
            <a:cxnSpLocks/>
          </p:cNvCxnSpPr>
          <p:nvPr/>
        </p:nvCxnSpPr>
        <p:spPr>
          <a:xfrm>
            <a:off x="4299351" y="3614227"/>
            <a:ext cx="0" cy="1841351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r Verbinder 14">
            <a:extLst>
              <a:ext uri="{FF2B5EF4-FFF2-40B4-BE49-F238E27FC236}">
                <a16:creationId xmlns:a16="http://schemas.microsoft.com/office/drawing/2014/main" id="{8D88ACED-069B-8575-6E72-00ACB6B116E8}"/>
              </a:ext>
            </a:extLst>
          </p:cNvPr>
          <p:cNvCxnSpPr>
            <a:cxnSpLocks/>
          </p:cNvCxnSpPr>
          <p:nvPr/>
        </p:nvCxnSpPr>
        <p:spPr>
          <a:xfrm>
            <a:off x="7950377" y="3614227"/>
            <a:ext cx="0" cy="1841351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r Verbinder 21">
            <a:extLst>
              <a:ext uri="{FF2B5EF4-FFF2-40B4-BE49-F238E27FC236}">
                <a16:creationId xmlns:a16="http://schemas.microsoft.com/office/drawing/2014/main" id="{915F0731-59EE-8968-EBD4-F17FA30E083A}"/>
              </a:ext>
            </a:extLst>
          </p:cNvPr>
          <p:cNvCxnSpPr>
            <a:cxnSpLocks/>
          </p:cNvCxnSpPr>
          <p:nvPr/>
        </p:nvCxnSpPr>
        <p:spPr>
          <a:xfrm>
            <a:off x="11601404" y="3614227"/>
            <a:ext cx="0" cy="1841351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r Verbinder 22">
            <a:extLst>
              <a:ext uri="{FF2B5EF4-FFF2-40B4-BE49-F238E27FC236}">
                <a16:creationId xmlns:a16="http://schemas.microsoft.com/office/drawing/2014/main" id="{D3C1DC5B-81F3-AF58-8EF2-12A2D2957C20}"/>
              </a:ext>
            </a:extLst>
          </p:cNvPr>
          <p:cNvCxnSpPr>
            <a:cxnSpLocks/>
          </p:cNvCxnSpPr>
          <p:nvPr/>
        </p:nvCxnSpPr>
        <p:spPr>
          <a:xfrm>
            <a:off x="648325" y="3614227"/>
            <a:ext cx="0" cy="1841351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6" name="Grafik 25">
            <a:extLst>
              <a:ext uri="{FF2B5EF4-FFF2-40B4-BE49-F238E27FC236}">
                <a16:creationId xmlns:a16="http://schemas.microsoft.com/office/drawing/2014/main" id="{08E8E145-000F-5A1F-5EB7-EF64E4EB9707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357847" y="5491873"/>
            <a:ext cx="600952" cy="600952"/>
          </a:xfrm>
          <a:prstGeom prst="rect">
            <a:avLst/>
          </a:prstGeom>
        </p:spPr>
      </p:pic>
      <p:cxnSp>
        <p:nvCxnSpPr>
          <p:cNvPr id="39" name="Gerader Verbinder 32">
            <a:extLst>
              <a:ext uri="{FF2B5EF4-FFF2-40B4-BE49-F238E27FC236}">
                <a16:creationId xmlns:a16="http://schemas.microsoft.com/office/drawing/2014/main" id="{C1A1D829-31EC-CB0D-AC82-DBEA0B559F6E}"/>
              </a:ext>
            </a:extLst>
          </p:cNvPr>
          <p:cNvCxnSpPr>
            <a:cxnSpLocks/>
          </p:cNvCxnSpPr>
          <p:nvPr/>
        </p:nvCxnSpPr>
        <p:spPr>
          <a:xfrm flipH="1">
            <a:off x="907093" y="3906615"/>
            <a:ext cx="722479" cy="0"/>
          </a:xfrm>
          <a:prstGeom prst="line">
            <a:avLst/>
          </a:prstGeom>
          <a:ln w="38100"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r Verbinder 34">
            <a:extLst>
              <a:ext uri="{FF2B5EF4-FFF2-40B4-BE49-F238E27FC236}">
                <a16:creationId xmlns:a16="http://schemas.microsoft.com/office/drawing/2014/main" id="{95E9DB32-5C9E-617C-D672-5C688B22A540}"/>
              </a:ext>
            </a:extLst>
          </p:cNvPr>
          <p:cNvCxnSpPr>
            <a:cxnSpLocks/>
          </p:cNvCxnSpPr>
          <p:nvPr/>
        </p:nvCxnSpPr>
        <p:spPr>
          <a:xfrm>
            <a:off x="3318106" y="3906615"/>
            <a:ext cx="722479" cy="0"/>
          </a:xfrm>
          <a:prstGeom prst="line">
            <a:avLst/>
          </a:prstGeom>
          <a:ln w="38100"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r Verbinder 35">
            <a:extLst>
              <a:ext uri="{FF2B5EF4-FFF2-40B4-BE49-F238E27FC236}">
                <a16:creationId xmlns:a16="http://schemas.microsoft.com/office/drawing/2014/main" id="{B75B58BC-BD84-827B-DD47-A0E6194B157B}"/>
              </a:ext>
            </a:extLst>
          </p:cNvPr>
          <p:cNvCxnSpPr>
            <a:cxnSpLocks/>
          </p:cNvCxnSpPr>
          <p:nvPr/>
        </p:nvCxnSpPr>
        <p:spPr>
          <a:xfrm flipH="1">
            <a:off x="4558118" y="3906615"/>
            <a:ext cx="722479" cy="0"/>
          </a:xfrm>
          <a:prstGeom prst="line">
            <a:avLst/>
          </a:prstGeom>
          <a:ln w="38100"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r Verbinder 36">
            <a:extLst>
              <a:ext uri="{FF2B5EF4-FFF2-40B4-BE49-F238E27FC236}">
                <a16:creationId xmlns:a16="http://schemas.microsoft.com/office/drawing/2014/main" id="{39D6916E-6327-99B1-2955-542CA621364E}"/>
              </a:ext>
            </a:extLst>
          </p:cNvPr>
          <p:cNvCxnSpPr>
            <a:cxnSpLocks/>
          </p:cNvCxnSpPr>
          <p:nvPr/>
        </p:nvCxnSpPr>
        <p:spPr>
          <a:xfrm>
            <a:off x="6969129" y="3906615"/>
            <a:ext cx="722479" cy="0"/>
          </a:xfrm>
          <a:prstGeom prst="line">
            <a:avLst/>
          </a:prstGeom>
          <a:ln w="38100"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r Verbinder 37">
            <a:extLst>
              <a:ext uri="{FF2B5EF4-FFF2-40B4-BE49-F238E27FC236}">
                <a16:creationId xmlns:a16="http://schemas.microsoft.com/office/drawing/2014/main" id="{567C9191-5D2F-8E0D-AAD3-6F8153093ADA}"/>
              </a:ext>
            </a:extLst>
          </p:cNvPr>
          <p:cNvCxnSpPr>
            <a:cxnSpLocks/>
          </p:cNvCxnSpPr>
          <p:nvPr/>
        </p:nvCxnSpPr>
        <p:spPr>
          <a:xfrm flipH="1">
            <a:off x="8209145" y="3906615"/>
            <a:ext cx="722479" cy="0"/>
          </a:xfrm>
          <a:prstGeom prst="line">
            <a:avLst/>
          </a:prstGeom>
          <a:ln w="38100"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r Verbinder 38">
            <a:extLst>
              <a:ext uri="{FF2B5EF4-FFF2-40B4-BE49-F238E27FC236}">
                <a16:creationId xmlns:a16="http://schemas.microsoft.com/office/drawing/2014/main" id="{E998037C-916E-CF02-20A4-3B306F4EED9C}"/>
              </a:ext>
            </a:extLst>
          </p:cNvPr>
          <p:cNvCxnSpPr>
            <a:cxnSpLocks/>
          </p:cNvCxnSpPr>
          <p:nvPr/>
        </p:nvCxnSpPr>
        <p:spPr>
          <a:xfrm>
            <a:off x="10620158" y="3906615"/>
            <a:ext cx="722479" cy="0"/>
          </a:xfrm>
          <a:prstGeom prst="line">
            <a:avLst/>
          </a:prstGeom>
          <a:ln w="38100"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Freihandform: Form 39">
            <a:extLst>
              <a:ext uri="{FF2B5EF4-FFF2-40B4-BE49-F238E27FC236}">
                <a16:creationId xmlns:a16="http://schemas.microsoft.com/office/drawing/2014/main" id="{3B78A944-39C9-FF97-341E-4F2452C5AC6D}"/>
              </a:ext>
            </a:extLst>
          </p:cNvPr>
          <p:cNvSpPr>
            <a:spLocks/>
          </p:cNvSpPr>
          <p:nvPr/>
        </p:nvSpPr>
        <p:spPr>
          <a:xfrm>
            <a:off x="1833866" y="5443147"/>
            <a:ext cx="700183" cy="582595"/>
          </a:xfrm>
          <a:custGeom>
            <a:avLst/>
            <a:gdLst>
              <a:gd name="connsiteX0" fmla="*/ 1658354 w 1670169"/>
              <a:gd name="connsiteY0" fmla="*/ 1375955 h 1389682"/>
              <a:gd name="connsiteX1" fmla="*/ 1597667 w 1670169"/>
              <a:gd name="connsiteY1" fmla="*/ 1376975 h 1389682"/>
              <a:gd name="connsiteX2" fmla="*/ 12791 w 1670169"/>
              <a:gd name="connsiteY2" fmla="*/ 527866 h 1389682"/>
              <a:gd name="connsiteX3" fmla="*/ 227745 w 1670169"/>
              <a:gd name="connsiteY3" fmla="*/ 12791 h 1389682"/>
              <a:gd name="connsiteX4" fmla="*/ 740526 w 1670169"/>
              <a:gd name="connsiteY4" fmla="*/ 78960 h 1389682"/>
              <a:gd name="connsiteX5" fmla="*/ 1597667 w 1670169"/>
              <a:gd name="connsiteY5" fmla="*/ 522766 h 1389682"/>
              <a:gd name="connsiteX6" fmla="*/ 1627118 w 1670169"/>
              <a:gd name="connsiteY6" fmla="*/ 522256 h 1389682"/>
              <a:gd name="connsiteX7" fmla="*/ 1316926 w 1670169"/>
              <a:gd name="connsiteY7" fmla="*/ 928707 h 1389682"/>
              <a:gd name="connsiteX8" fmla="*/ 1658354 w 1670169"/>
              <a:gd name="connsiteY8" fmla="*/ 1375955 h 1389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70169" h="1389682">
                <a:moveTo>
                  <a:pt x="1658354" y="1375955"/>
                </a:moveTo>
                <a:cubicBezTo>
                  <a:pt x="1638210" y="1376593"/>
                  <a:pt x="1617938" y="1376975"/>
                  <a:pt x="1597667" y="1376975"/>
                </a:cubicBezTo>
                <a:cubicBezTo>
                  <a:pt x="937504" y="1376975"/>
                  <a:pt x="354729" y="1039499"/>
                  <a:pt x="12791" y="527866"/>
                </a:cubicBezTo>
                <a:lnTo>
                  <a:pt x="227745" y="12791"/>
                </a:lnTo>
                <a:lnTo>
                  <a:pt x="740526" y="78960"/>
                </a:lnTo>
                <a:cubicBezTo>
                  <a:pt x="931001" y="347335"/>
                  <a:pt x="1244254" y="522766"/>
                  <a:pt x="1597667" y="522766"/>
                </a:cubicBezTo>
                <a:cubicBezTo>
                  <a:pt x="1607484" y="522766"/>
                  <a:pt x="1617428" y="522639"/>
                  <a:pt x="1627118" y="522256"/>
                </a:cubicBezTo>
                <a:lnTo>
                  <a:pt x="1316926" y="928707"/>
                </a:lnTo>
                <a:lnTo>
                  <a:pt x="1658354" y="1375955"/>
                </a:lnTo>
                <a:close/>
              </a:path>
            </a:pathLst>
          </a:custGeom>
          <a:solidFill>
            <a:schemeClr val="bg2"/>
          </a:solidFill>
          <a:ln w="12741" cap="flat">
            <a:noFill/>
            <a:prstDash val="solid"/>
            <a:miter/>
          </a:ln>
        </p:spPr>
        <p:txBody>
          <a:bodyPr rtlCol="0" anchor="ctr"/>
          <a:lstStyle/>
          <a:p>
            <a:pPr>
              <a:spcBef>
                <a:spcPts val="400"/>
              </a:spcBef>
            </a:pPr>
            <a:endParaRPr lang="en-US"/>
          </a:p>
        </p:txBody>
      </p:sp>
      <p:sp>
        <p:nvSpPr>
          <p:cNvPr id="46" name="Freihandform: Form 40">
            <a:extLst>
              <a:ext uri="{FF2B5EF4-FFF2-40B4-BE49-F238E27FC236}">
                <a16:creationId xmlns:a16="http://schemas.microsoft.com/office/drawing/2014/main" id="{916BE522-122F-A075-177A-B4D3B7830F52}"/>
              </a:ext>
            </a:extLst>
          </p:cNvPr>
          <p:cNvSpPr>
            <a:spLocks/>
          </p:cNvSpPr>
          <p:nvPr/>
        </p:nvSpPr>
        <p:spPr>
          <a:xfrm>
            <a:off x="2407535" y="5425723"/>
            <a:ext cx="801737" cy="593284"/>
          </a:xfrm>
          <a:custGeom>
            <a:avLst/>
            <a:gdLst>
              <a:gd name="connsiteX0" fmla="*/ 1908242 w 1912407"/>
              <a:gd name="connsiteY0" fmla="*/ 412994 h 1415181"/>
              <a:gd name="connsiteX1" fmla="*/ 352052 w 1912407"/>
              <a:gd name="connsiteY1" fmla="*/ 1414713 h 1415181"/>
              <a:gd name="connsiteX2" fmla="*/ 351925 w 1912407"/>
              <a:gd name="connsiteY2" fmla="*/ 1414713 h 1415181"/>
              <a:gd name="connsiteX3" fmla="*/ 12791 w 1912407"/>
              <a:gd name="connsiteY3" fmla="*/ 970270 h 1415181"/>
              <a:gd name="connsiteX4" fmla="*/ 326043 w 1912407"/>
              <a:gd name="connsiteY4" fmla="*/ 559740 h 1415181"/>
              <a:gd name="connsiteX5" fmla="*/ 326171 w 1912407"/>
              <a:gd name="connsiteY5" fmla="*/ 559740 h 1415181"/>
              <a:gd name="connsiteX6" fmla="*/ 1153606 w 1912407"/>
              <a:gd name="connsiteY6" fmla="*/ 12791 h 1415181"/>
              <a:gd name="connsiteX7" fmla="*/ 1350584 w 1912407"/>
              <a:gd name="connsiteY7" fmla="*/ 484900 h 1415181"/>
              <a:gd name="connsiteX8" fmla="*/ 1908242 w 1912407"/>
              <a:gd name="connsiteY8" fmla="*/ 412994 h 14151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912407" h="1415181">
                <a:moveTo>
                  <a:pt x="1908242" y="412994"/>
                </a:moveTo>
                <a:cubicBezTo>
                  <a:pt x="1604807" y="977154"/>
                  <a:pt x="1025602" y="1371620"/>
                  <a:pt x="352052" y="1414713"/>
                </a:cubicBezTo>
                <a:lnTo>
                  <a:pt x="351925" y="1414713"/>
                </a:lnTo>
                <a:lnTo>
                  <a:pt x="12791" y="970270"/>
                </a:lnTo>
                <a:lnTo>
                  <a:pt x="326043" y="559740"/>
                </a:lnTo>
                <a:lnTo>
                  <a:pt x="326171" y="559740"/>
                </a:lnTo>
                <a:cubicBezTo>
                  <a:pt x="683919" y="527101"/>
                  <a:pt x="990286" y="314059"/>
                  <a:pt x="1153606" y="12791"/>
                </a:cubicBezTo>
                <a:lnTo>
                  <a:pt x="1350584" y="484900"/>
                </a:lnTo>
                <a:lnTo>
                  <a:pt x="1908242" y="412994"/>
                </a:lnTo>
                <a:close/>
              </a:path>
            </a:pathLst>
          </a:custGeom>
          <a:solidFill>
            <a:schemeClr val="bg2"/>
          </a:solidFill>
          <a:ln w="12741" cap="flat">
            <a:noFill/>
            <a:prstDash val="solid"/>
            <a:miter/>
          </a:ln>
        </p:spPr>
        <p:txBody>
          <a:bodyPr rtlCol="0" anchor="ctr"/>
          <a:lstStyle/>
          <a:p>
            <a:pPr>
              <a:spcBef>
                <a:spcPts val="400"/>
              </a:spcBef>
            </a:pPr>
            <a:endParaRPr lang="en-US"/>
          </a:p>
        </p:txBody>
      </p:sp>
      <p:sp>
        <p:nvSpPr>
          <p:cNvPr id="47" name="Freihandform: Form 42">
            <a:extLst>
              <a:ext uri="{FF2B5EF4-FFF2-40B4-BE49-F238E27FC236}">
                <a16:creationId xmlns:a16="http://schemas.microsoft.com/office/drawing/2014/main" id="{59965872-6537-C623-976B-276162F508EA}"/>
              </a:ext>
            </a:extLst>
          </p:cNvPr>
          <p:cNvSpPr>
            <a:spLocks/>
          </p:cNvSpPr>
          <p:nvPr/>
        </p:nvSpPr>
        <p:spPr>
          <a:xfrm>
            <a:off x="1701203" y="4831797"/>
            <a:ext cx="427593" cy="812425"/>
          </a:xfrm>
          <a:custGeom>
            <a:avLst/>
            <a:gdLst>
              <a:gd name="connsiteX0" fmla="*/ 293666 w 1019950"/>
              <a:gd name="connsiteY0" fmla="*/ 1930936 h 1937906"/>
              <a:gd name="connsiteX1" fmla="*/ 262685 w 1019950"/>
              <a:gd name="connsiteY1" fmla="*/ 1878663 h 1937906"/>
              <a:gd name="connsiteX2" fmla="*/ 215002 w 1019950"/>
              <a:gd name="connsiteY2" fmla="*/ 81255 h 1937906"/>
              <a:gd name="connsiteX3" fmla="*/ 768963 w 1019950"/>
              <a:gd name="connsiteY3" fmla="*/ 12791 h 1937906"/>
              <a:gd name="connsiteX4" fmla="*/ 965559 w 1019950"/>
              <a:gd name="connsiteY4" fmla="*/ 491020 h 1937906"/>
              <a:gd name="connsiteX5" fmla="*/ 1004699 w 1019950"/>
              <a:gd name="connsiteY5" fmla="*/ 1455511 h 1937906"/>
              <a:gd name="connsiteX6" fmla="*/ 1019743 w 1019950"/>
              <a:gd name="connsiteY6" fmla="*/ 1480882 h 1937906"/>
              <a:gd name="connsiteX7" fmla="*/ 512955 w 1019950"/>
              <a:gd name="connsiteY7" fmla="*/ 1412801 h 1937906"/>
              <a:gd name="connsiteX8" fmla="*/ 293666 w 1019950"/>
              <a:gd name="connsiteY8" fmla="*/ 1930936 h 1937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19950" h="1937906">
                <a:moveTo>
                  <a:pt x="293666" y="1930936"/>
                </a:moveTo>
                <a:cubicBezTo>
                  <a:pt x="283084" y="1913724"/>
                  <a:pt x="272757" y="1896385"/>
                  <a:pt x="262685" y="1878663"/>
                </a:cubicBezTo>
                <a:cubicBezTo>
                  <a:pt x="-64337" y="1305196"/>
                  <a:pt x="-60002" y="631773"/>
                  <a:pt x="215002" y="81255"/>
                </a:cubicBezTo>
                <a:lnTo>
                  <a:pt x="768963" y="12791"/>
                </a:lnTo>
                <a:lnTo>
                  <a:pt x="965559" y="491020"/>
                </a:lnTo>
                <a:cubicBezTo>
                  <a:pt x="826845" y="789483"/>
                  <a:pt x="829650" y="1148506"/>
                  <a:pt x="1004699" y="1455511"/>
                </a:cubicBezTo>
                <a:cubicBezTo>
                  <a:pt x="1009544" y="1464053"/>
                  <a:pt x="1014644" y="1472595"/>
                  <a:pt x="1019743" y="1480882"/>
                </a:cubicBezTo>
                <a:lnTo>
                  <a:pt x="512955" y="1412801"/>
                </a:lnTo>
                <a:lnTo>
                  <a:pt x="293666" y="1930936"/>
                </a:lnTo>
                <a:close/>
              </a:path>
            </a:pathLst>
          </a:custGeom>
          <a:solidFill>
            <a:schemeClr val="bg2"/>
          </a:solidFill>
          <a:ln w="12741" cap="flat">
            <a:noFill/>
            <a:prstDash val="solid"/>
            <a:miter/>
          </a:ln>
        </p:spPr>
        <p:txBody>
          <a:bodyPr rtlCol="0" anchor="ctr"/>
          <a:lstStyle/>
          <a:p>
            <a:pPr>
              <a:spcBef>
                <a:spcPts val="400"/>
              </a:spcBef>
            </a:pPr>
            <a:endParaRPr lang="en-US"/>
          </a:p>
        </p:txBody>
      </p:sp>
      <p:sp>
        <p:nvSpPr>
          <p:cNvPr id="48" name="Freihandform: Form 43">
            <a:extLst>
              <a:ext uri="{FF2B5EF4-FFF2-40B4-BE49-F238E27FC236}">
                <a16:creationId xmlns:a16="http://schemas.microsoft.com/office/drawing/2014/main" id="{5825AD1D-48E6-1239-4FFF-01D6BD163DF6}"/>
              </a:ext>
            </a:extLst>
          </p:cNvPr>
          <p:cNvSpPr>
            <a:spLocks/>
          </p:cNvSpPr>
          <p:nvPr/>
        </p:nvSpPr>
        <p:spPr>
          <a:xfrm>
            <a:off x="2873130" y="4795612"/>
            <a:ext cx="432938" cy="812425"/>
          </a:xfrm>
          <a:custGeom>
            <a:avLst/>
            <a:gdLst>
              <a:gd name="connsiteX0" fmla="*/ 1023562 w 1032700"/>
              <a:gd name="connsiteY0" fmla="*/ 1016677 h 1937906"/>
              <a:gd name="connsiteX1" fmla="*/ 826201 w 1032700"/>
              <a:gd name="connsiteY1" fmla="*/ 1860814 h 1937906"/>
              <a:gd name="connsiteX2" fmla="*/ 272113 w 1032700"/>
              <a:gd name="connsiteY2" fmla="*/ 1932338 h 1937906"/>
              <a:gd name="connsiteX3" fmla="*/ 73223 w 1032700"/>
              <a:gd name="connsiteY3" fmla="*/ 1455511 h 1937906"/>
              <a:gd name="connsiteX4" fmla="*/ 169353 w 1032700"/>
              <a:gd name="connsiteY4" fmla="*/ 1016677 h 1937906"/>
              <a:gd name="connsiteX5" fmla="*/ 12791 w 1032700"/>
              <a:gd name="connsiteY5" fmla="*/ 465521 h 1937906"/>
              <a:gd name="connsiteX6" fmla="*/ 520726 w 1032700"/>
              <a:gd name="connsiteY6" fmla="*/ 531053 h 1937906"/>
              <a:gd name="connsiteX7" fmla="*/ 736956 w 1032700"/>
              <a:gd name="connsiteY7" fmla="*/ 12791 h 1937906"/>
              <a:gd name="connsiteX8" fmla="*/ 1023562 w 1032700"/>
              <a:gd name="connsiteY8" fmla="*/ 1016677 h 1937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32700" h="1937906">
                <a:moveTo>
                  <a:pt x="1023562" y="1016677"/>
                </a:moveTo>
                <a:cubicBezTo>
                  <a:pt x="1023562" y="1319603"/>
                  <a:pt x="952548" y="1606336"/>
                  <a:pt x="826201" y="1860814"/>
                </a:cubicBezTo>
                <a:lnTo>
                  <a:pt x="272113" y="1932338"/>
                </a:lnTo>
                <a:lnTo>
                  <a:pt x="73223" y="1455511"/>
                </a:lnTo>
                <a:cubicBezTo>
                  <a:pt x="134930" y="1321898"/>
                  <a:pt x="169353" y="1173240"/>
                  <a:pt x="169353" y="1016677"/>
                </a:cubicBezTo>
                <a:cubicBezTo>
                  <a:pt x="169353" y="814727"/>
                  <a:pt x="112109" y="625781"/>
                  <a:pt x="12791" y="465521"/>
                </a:cubicBezTo>
                <a:lnTo>
                  <a:pt x="520726" y="531053"/>
                </a:lnTo>
                <a:lnTo>
                  <a:pt x="736956" y="12791"/>
                </a:lnTo>
                <a:cubicBezTo>
                  <a:pt x="918634" y="304369"/>
                  <a:pt x="1023562" y="648475"/>
                  <a:pt x="1023562" y="1016677"/>
                </a:cubicBezTo>
                <a:close/>
              </a:path>
            </a:pathLst>
          </a:custGeom>
          <a:solidFill>
            <a:schemeClr val="bg2"/>
          </a:solidFill>
          <a:ln w="12741" cap="flat">
            <a:noFill/>
            <a:prstDash val="solid"/>
            <a:miter/>
          </a:ln>
        </p:spPr>
        <p:txBody>
          <a:bodyPr rtlCol="0" anchor="ctr"/>
          <a:lstStyle/>
          <a:p>
            <a:pPr>
              <a:spcBef>
                <a:spcPts val="400"/>
              </a:spcBef>
            </a:pPr>
            <a:endParaRPr lang="en-US"/>
          </a:p>
        </p:txBody>
      </p:sp>
      <p:sp>
        <p:nvSpPr>
          <p:cNvPr id="49" name="Freihandform: Form 44">
            <a:extLst>
              <a:ext uri="{FF2B5EF4-FFF2-40B4-BE49-F238E27FC236}">
                <a16:creationId xmlns:a16="http://schemas.microsoft.com/office/drawing/2014/main" id="{F29B08F9-1AC7-4072-C485-DD99C4556354}"/>
              </a:ext>
            </a:extLst>
          </p:cNvPr>
          <p:cNvSpPr>
            <a:spLocks/>
          </p:cNvSpPr>
          <p:nvPr/>
        </p:nvSpPr>
        <p:spPr>
          <a:xfrm>
            <a:off x="2473010" y="4417888"/>
            <a:ext cx="700183" cy="577250"/>
          </a:xfrm>
          <a:custGeom>
            <a:avLst/>
            <a:gdLst>
              <a:gd name="connsiteX0" fmla="*/ 1657844 w 1670169"/>
              <a:gd name="connsiteY0" fmla="*/ 861772 h 1376933"/>
              <a:gd name="connsiteX1" fmla="*/ 1443017 w 1670169"/>
              <a:gd name="connsiteY1" fmla="*/ 1376465 h 1376933"/>
              <a:gd name="connsiteX2" fmla="*/ 929854 w 1670169"/>
              <a:gd name="connsiteY2" fmla="*/ 1310296 h 1376933"/>
              <a:gd name="connsiteX3" fmla="*/ 73096 w 1670169"/>
              <a:gd name="connsiteY3" fmla="*/ 867000 h 1376933"/>
              <a:gd name="connsiteX4" fmla="*/ 43262 w 1670169"/>
              <a:gd name="connsiteY4" fmla="*/ 867510 h 1376933"/>
              <a:gd name="connsiteX5" fmla="*/ 353837 w 1670169"/>
              <a:gd name="connsiteY5" fmla="*/ 460549 h 1376933"/>
              <a:gd name="connsiteX6" fmla="*/ 12791 w 1670169"/>
              <a:gd name="connsiteY6" fmla="*/ 13811 h 1376933"/>
              <a:gd name="connsiteX7" fmla="*/ 73096 w 1670169"/>
              <a:gd name="connsiteY7" fmla="*/ 12791 h 1376933"/>
              <a:gd name="connsiteX8" fmla="*/ 1657844 w 1670169"/>
              <a:gd name="connsiteY8" fmla="*/ 861772 h 13769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70169" h="1376933">
                <a:moveTo>
                  <a:pt x="1657844" y="861772"/>
                </a:moveTo>
                <a:lnTo>
                  <a:pt x="1443017" y="1376465"/>
                </a:lnTo>
                <a:lnTo>
                  <a:pt x="929854" y="1310296"/>
                </a:lnTo>
                <a:cubicBezTo>
                  <a:pt x="739379" y="1042176"/>
                  <a:pt x="426254" y="867000"/>
                  <a:pt x="73096" y="867000"/>
                </a:cubicBezTo>
                <a:cubicBezTo>
                  <a:pt x="63151" y="867000"/>
                  <a:pt x="53079" y="867127"/>
                  <a:pt x="43262" y="867510"/>
                </a:cubicBezTo>
                <a:lnTo>
                  <a:pt x="353837" y="460549"/>
                </a:lnTo>
                <a:lnTo>
                  <a:pt x="12791" y="13811"/>
                </a:lnTo>
                <a:cubicBezTo>
                  <a:pt x="32807" y="13046"/>
                  <a:pt x="52952" y="12791"/>
                  <a:pt x="73096" y="12791"/>
                </a:cubicBezTo>
                <a:cubicBezTo>
                  <a:pt x="733259" y="12791"/>
                  <a:pt x="1316033" y="350267"/>
                  <a:pt x="1657844" y="861772"/>
                </a:cubicBezTo>
                <a:close/>
              </a:path>
            </a:pathLst>
          </a:custGeom>
          <a:solidFill>
            <a:schemeClr val="bg2"/>
          </a:solidFill>
          <a:ln w="12741" cap="flat">
            <a:noFill/>
            <a:prstDash val="solid"/>
            <a:miter/>
          </a:ln>
        </p:spPr>
        <p:txBody>
          <a:bodyPr rtlCol="0" anchor="ctr"/>
          <a:lstStyle/>
          <a:p>
            <a:pPr>
              <a:spcBef>
                <a:spcPts val="400"/>
              </a:spcBef>
            </a:pPr>
            <a:endParaRPr lang="en-US"/>
          </a:p>
        </p:txBody>
      </p:sp>
      <p:sp>
        <p:nvSpPr>
          <p:cNvPr id="50" name="Freihandform: Form 45">
            <a:extLst>
              <a:ext uri="{FF2B5EF4-FFF2-40B4-BE49-F238E27FC236}">
                <a16:creationId xmlns:a16="http://schemas.microsoft.com/office/drawing/2014/main" id="{F0FCB297-D104-8CAA-E71F-DEDC74AC5424}"/>
              </a:ext>
            </a:extLst>
          </p:cNvPr>
          <p:cNvSpPr>
            <a:spLocks/>
          </p:cNvSpPr>
          <p:nvPr/>
        </p:nvSpPr>
        <p:spPr>
          <a:xfrm>
            <a:off x="1163948" y="4424854"/>
            <a:ext cx="1430463" cy="358430"/>
          </a:xfrm>
          <a:custGeom>
            <a:avLst/>
            <a:gdLst>
              <a:gd name="connsiteX0" fmla="*/ 0 w 3412130"/>
              <a:gd name="connsiteY0" fmla="*/ 0 h 854975"/>
              <a:gd name="connsiteX1" fmla="*/ 3073379 w 3412130"/>
              <a:gd name="connsiteY1" fmla="*/ 0 h 854975"/>
              <a:gd name="connsiteX2" fmla="*/ 3412130 w 3412130"/>
              <a:gd name="connsiteY2" fmla="*/ 443934 h 854975"/>
              <a:gd name="connsiteX3" fmla="*/ 3098368 w 3412130"/>
              <a:gd name="connsiteY3" fmla="*/ 854975 h 854975"/>
              <a:gd name="connsiteX4" fmla="*/ 0 w 3412130"/>
              <a:gd name="connsiteY4" fmla="*/ 854975 h 854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12130" h="854975">
                <a:moveTo>
                  <a:pt x="0" y="0"/>
                </a:moveTo>
                <a:lnTo>
                  <a:pt x="3073379" y="0"/>
                </a:lnTo>
                <a:lnTo>
                  <a:pt x="3412130" y="443934"/>
                </a:lnTo>
                <a:lnTo>
                  <a:pt x="3098368" y="854975"/>
                </a:lnTo>
                <a:lnTo>
                  <a:pt x="0" y="854975"/>
                </a:lnTo>
                <a:close/>
              </a:path>
            </a:pathLst>
          </a:custGeom>
          <a:solidFill>
            <a:schemeClr val="bg2"/>
          </a:solidFill>
          <a:ln w="12741" cap="flat">
            <a:noFill/>
            <a:prstDash val="solid"/>
            <a:miter/>
          </a:ln>
        </p:spPr>
        <p:txBody>
          <a:bodyPr lIns="199453" rtlCol="0" anchor="ctr"/>
          <a:lstStyle/>
          <a:p>
            <a:pPr>
              <a:spcBef>
                <a:spcPts val="400"/>
              </a:spcBef>
              <a:buClr>
                <a:schemeClr val="tx2"/>
              </a:buClr>
              <a:buSzPct val="80000"/>
            </a:pPr>
            <a:endParaRPr lang="en-US" sz="900">
              <a:solidFill>
                <a:schemeClr val="bg1"/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51" name="Freihandform: Form 49">
            <a:extLst>
              <a:ext uri="{FF2B5EF4-FFF2-40B4-BE49-F238E27FC236}">
                <a16:creationId xmlns:a16="http://schemas.microsoft.com/office/drawing/2014/main" id="{7D184FE2-7549-C90C-DF17-299F92B1F99A}"/>
              </a:ext>
            </a:extLst>
          </p:cNvPr>
          <p:cNvSpPr>
            <a:spLocks/>
          </p:cNvSpPr>
          <p:nvPr/>
        </p:nvSpPr>
        <p:spPr>
          <a:xfrm>
            <a:off x="5473679" y="5443147"/>
            <a:ext cx="700183" cy="582595"/>
          </a:xfrm>
          <a:custGeom>
            <a:avLst/>
            <a:gdLst>
              <a:gd name="connsiteX0" fmla="*/ 1658354 w 1670169"/>
              <a:gd name="connsiteY0" fmla="*/ 1375955 h 1389682"/>
              <a:gd name="connsiteX1" fmla="*/ 1597667 w 1670169"/>
              <a:gd name="connsiteY1" fmla="*/ 1376975 h 1389682"/>
              <a:gd name="connsiteX2" fmla="*/ 12791 w 1670169"/>
              <a:gd name="connsiteY2" fmla="*/ 527866 h 1389682"/>
              <a:gd name="connsiteX3" fmla="*/ 227745 w 1670169"/>
              <a:gd name="connsiteY3" fmla="*/ 12791 h 1389682"/>
              <a:gd name="connsiteX4" fmla="*/ 740526 w 1670169"/>
              <a:gd name="connsiteY4" fmla="*/ 78960 h 1389682"/>
              <a:gd name="connsiteX5" fmla="*/ 1597667 w 1670169"/>
              <a:gd name="connsiteY5" fmla="*/ 522766 h 1389682"/>
              <a:gd name="connsiteX6" fmla="*/ 1627118 w 1670169"/>
              <a:gd name="connsiteY6" fmla="*/ 522256 h 1389682"/>
              <a:gd name="connsiteX7" fmla="*/ 1316926 w 1670169"/>
              <a:gd name="connsiteY7" fmla="*/ 928707 h 1389682"/>
              <a:gd name="connsiteX8" fmla="*/ 1658354 w 1670169"/>
              <a:gd name="connsiteY8" fmla="*/ 1375955 h 1389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70169" h="1389682">
                <a:moveTo>
                  <a:pt x="1658354" y="1375955"/>
                </a:moveTo>
                <a:cubicBezTo>
                  <a:pt x="1638210" y="1376593"/>
                  <a:pt x="1617938" y="1376975"/>
                  <a:pt x="1597667" y="1376975"/>
                </a:cubicBezTo>
                <a:cubicBezTo>
                  <a:pt x="937504" y="1376975"/>
                  <a:pt x="354729" y="1039499"/>
                  <a:pt x="12791" y="527866"/>
                </a:cubicBezTo>
                <a:lnTo>
                  <a:pt x="227745" y="12791"/>
                </a:lnTo>
                <a:lnTo>
                  <a:pt x="740526" y="78960"/>
                </a:lnTo>
                <a:cubicBezTo>
                  <a:pt x="931001" y="347335"/>
                  <a:pt x="1244254" y="522766"/>
                  <a:pt x="1597667" y="522766"/>
                </a:cubicBezTo>
                <a:cubicBezTo>
                  <a:pt x="1607484" y="522766"/>
                  <a:pt x="1617428" y="522639"/>
                  <a:pt x="1627118" y="522256"/>
                </a:cubicBezTo>
                <a:lnTo>
                  <a:pt x="1316926" y="928707"/>
                </a:lnTo>
                <a:lnTo>
                  <a:pt x="1658354" y="1375955"/>
                </a:lnTo>
                <a:close/>
              </a:path>
            </a:pathLst>
          </a:custGeom>
          <a:solidFill>
            <a:schemeClr val="bg2"/>
          </a:solidFill>
          <a:ln w="12741" cap="flat">
            <a:noFill/>
            <a:prstDash val="solid"/>
            <a:miter/>
          </a:ln>
        </p:spPr>
        <p:txBody>
          <a:bodyPr rtlCol="0" anchor="ctr"/>
          <a:lstStyle/>
          <a:p>
            <a:pPr>
              <a:spcBef>
                <a:spcPts val="400"/>
              </a:spcBef>
            </a:pPr>
            <a:endParaRPr lang="en-US"/>
          </a:p>
        </p:txBody>
      </p:sp>
      <p:sp>
        <p:nvSpPr>
          <p:cNvPr id="52" name="Freihandform: Form 50">
            <a:extLst>
              <a:ext uri="{FF2B5EF4-FFF2-40B4-BE49-F238E27FC236}">
                <a16:creationId xmlns:a16="http://schemas.microsoft.com/office/drawing/2014/main" id="{9CC3C2C0-3808-E0E8-4303-5CABDB636C6B}"/>
              </a:ext>
            </a:extLst>
          </p:cNvPr>
          <p:cNvSpPr>
            <a:spLocks/>
          </p:cNvSpPr>
          <p:nvPr/>
        </p:nvSpPr>
        <p:spPr>
          <a:xfrm>
            <a:off x="6047348" y="5425723"/>
            <a:ext cx="801737" cy="593284"/>
          </a:xfrm>
          <a:custGeom>
            <a:avLst/>
            <a:gdLst>
              <a:gd name="connsiteX0" fmla="*/ 1908242 w 1912407"/>
              <a:gd name="connsiteY0" fmla="*/ 412994 h 1415181"/>
              <a:gd name="connsiteX1" fmla="*/ 352052 w 1912407"/>
              <a:gd name="connsiteY1" fmla="*/ 1414713 h 1415181"/>
              <a:gd name="connsiteX2" fmla="*/ 351925 w 1912407"/>
              <a:gd name="connsiteY2" fmla="*/ 1414713 h 1415181"/>
              <a:gd name="connsiteX3" fmla="*/ 12791 w 1912407"/>
              <a:gd name="connsiteY3" fmla="*/ 970270 h 1415181"/>
              <a:gd name="connsiteX4" fmla="*/ 326043 w 1912407"/>
              <a:gd name="connsiteY4" fmla="*/ 559740 h 1415181"/>
              <a:gd name="connsiteX5" fmla="*/ 326171 w 1912407"/>
              <a:gd name="connsiteY5" fmla="*/ 559740 h 1415181"/>
              <a:gd name="connsiteX6" fmla="*/ 1153606 w 1912407"/>
              <a:gd name="connsiteY6" fmla="*/ 12791 h 1415181"/>
              <a:gd name="connsiteX7" fmla="*/ 1350584 w 1912407"/>
              <a:gd name="connsiteY7" fmla="*/ 484900 h 1415181"/>
              <a:gd name="connsiteX8" fmla="*/ 1908242 w 1912407"/>
              <a:gd name="connsiteY8" fmla="*/ 412994 h 14151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912407" h="1415181">
                <a:moveTo>
                  <a:pt x="1908242" y="412994"/>
                </a:moveTo>
                <a:cubicBezTo>
                  <a:pt x="1604807" y="977154"/>
                  <a:pt x="1025602" y="1371620"/>
                  <a:pt x="352052" y="1414713"/>
                </a:cubicBezTo>
                <a:lnTo>
                  <a:pt x="351925" y="1414713"/>
                </a:lnTo>
                <a:lnTo>
                  <a:pt x="12791" y="970270"/>
                </a:lnTo>
                <a:lnTo>
                  <a:pt x="326043" y="559740"/>
                </a:lnTo>
                <a:lnTo>
                  <a:pt x="326171" y="559740"/>
                </a:lnTo>
                <a:cubicBezTo>
                  <a:pt x="683919" y="527101"/>
                  <a:pt x="990286" y="314059"/>
                  <a:pt x="1153606" y="12791"/>
                </a:cubicBezTo>
                <a:lnTo>
                  <a:pt x="1350584" y="484900"/>
                </a:lnTo>
                <a:lnTo>
                  <a:pt x="1908242" y="412994"/>
                </a:lnTo>
                <a:close/>
              </a:path>
            </a:pathLst>
          </a:custGeom>
          <a:solidFill>
            <a:schemeClr val="bg2"/>
          </a:solidFill>
          <a:ln w="12741" cap="flat">
            <a:noFill/>
            <a:prstDash val="solid"/>
            <a:miter/>
          </a:ln>
        </p:spPr>
        <p:txBody>
          <a:bodyPr rtlCol="0" anchor="ctr"/>
          <a:lstStyle/>
          <a:p>
            <a:pPr>
              <a:spcBef>
                <a:spcPts val="400"/>
              </a:spcBef>
            </a:pPr>
            <a:endParaRPr lang="en-US"/>
          </a:p>
        </p:txBody>
      </p:sp>
      <p:sp>
        <p:nvSpPr>
          <p:cNvPr id="53" name="Freihandform: Form 55">
            <a:extLst>
              <a:ext uri="{FF2B5EF4-FFF2-40B4-BE49-F238E27FC236}">
                <a16:creationId xmlns:a16="http://schemas.microsoft.com/office/drawing/2014/main" id="{5A039644-3419-50A4-CC81-5B821E0CEB7E}"/>
              </a:ext>
            </a:extLst>
          </p:cNvPr>
          <p:cNvSpPr>
            <a:spLocks/>
          </p:cNvSpPr>
          <p:nvPr/>
        </p:nvSpPr>
        <p:spPr>
          <a:xfrm>
            <a:off x="5341016" y="4831797"/>
            <a:ext cx="427593" cy="812425"/>
          </a:xfrm>
          <a:custGeom>
            <a:avLst/>
            <a:gdLst>
              <a:gd name="connsiteX0" fmla="*/ 293666 w 1019950"/>
              <a:gd name="connsiteY0" fmla="*/ 1930936 h 1937906"/>
              <a:gd name="connsiteX1" fmla="*/ 262685 w 1019950"/>
              <a:gd name="connsiteY1" fmla="*/ 1878663 h 1937906"/>
              <a:gd name="connsiteX2" fmla="*/ 215002 w 1019950"/>
              <a:gd name="connsiteY2" fmla="*/ 81255 h 1937906"/>
              <a:gd name="connsiteX3" fmla="*/ 768963 w 1019950"/>
              <a:gd name="connsiteY3" fmla="*/ 12791 h 1937906"/>
              <a:gd name="connsiteX4" fmla="*/ 965559 w 1019950"/>
              <a:gd name="connsiteY4" fmla="*/ 491020 h 1937906"/>
              <a:gd name="connsiteX5" fmla="*/ 1004699 w 1019950"/>
              <a:gd name="connsiteY5" fmla="*/ 1455511 h 1937906"/>
              <a:gd name="connsiteX6" fmla="*/ 1019743 w 1019950"/>
              <a:gd name="connsiteY6" fmla="*/ 1480882 h 1937906"/>
              <a:gd name="connsiteX7" fmla="*/ 512955 w 1019950"/>
              <a:gd name="connsiteY7" fmla="*/ 1412801 h 1937906"/>
              <a:gd name="connsiteX8" fmla="*/ 293666 w 1019950"/>
              <a:gd name="connsiteY8" fmla="*/ 1930936 h 1937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19950" h="1937906">
                <a:moveTo>
                  <a:pt x="293666" y="1930936"/>
                </a:moveTo>
                <a:cubicBezTo>
                  <a:pt x="283084" y="1913724"/>
                  <a:pt x="272757" y="1896385"/>
                  <a:pt x="262685" y="1878663"/>
                </a:cubicBezTo>
                <a:cubicBezTo>
                  <a:pt x="-64337" y="1305196"/>
                  <a:pt x="-60002" y="631773"/>
                  <a:pt x="215002" y="81255"/>
                </a:cubicBezTo>
                <a:lnTo>
                  <a:pt x="768963" y="12791"/>
                </a:lnTo>
                <a:lnTo>
                  <a:pt x="965559" y="491020"/>
                </a:lnTo>
                <a:cubicBezTo>
                  <a:pt x="826845" y="789483"/>
                  <a:pt x="829650" y="1148506"/>
                  <a:pt x="1004699" y="1455511"/>
                </a:cubicBezTo>
                <a:cubicBezTo>
                  <a:pt x="1009544" y="1464053"/>
                  <a:pt x="1014644" y="1472595"/>
                  <a:pt x="1019743" y="1480882"/>
                </a:cubicBezTo>
                <a:lnTo>
                  <a:pt x="512955" y="1412801"/>
                </a:lnTo>
                <a:lnTo>
                  <a:pt x="293666" y="1930936"/>
                </a:lnTo>
                <a:close/>
              </a:path>
            </a:pathLst>
          </a:custGeom>
          <a:solidFill>
            <a:schemeClr val="bg2"/>
          </a:solidFill>
          <a:ln w="12741" cap="flat">
            <a:noFill/>
            <a:prstDash val="solid"/>
            <a:miter/>
          </a:ln>
        </p:spPr>
        <p:txBody>
          <a:bodyPr rtlCol="0" anchor="ctr"/>
          <a:lstStyle/>
          <a:p>
            <a:pPr>
              <a:spcBef>
                <a:spcPts val="400"/>
              </a:spcBef>
            </a:pPr>
            <a:endParaRPr lang="en-US"/>
          </a:p>
        </p:txBody>
      </p:sp>
      <p:sp>
        <p:nvSpPr>
          <p:cNvPr id="54" name="Freihandform: Form 56">
            <a:extLst>
              <a:ext uri="{FF2B5EF4-FFF2-40B4-BE49-F238E27FC236}">
                <a16:creationId xmlns:a16="http://schemas.microsoft.com/office/drawing/2014/main" id="{3693446B-0FF1-93A2-1DBC-4CDA078D643D}"/>
              </a:ext>
            </a:extLst>
          </p:cNvPr>
          <p:cNvSpPr>
            <a:spLocks/>
          </p:cNvSpPr>
          <p:nvPr/>
        </p:nvSpPr>
        <p:spPr>
          <a:xfrm>
            <a:off x="6512943" y="4795612"/>
            <a:ext cx="432938" cy="812425"/>
          </a:xfrm>
          <a:custGeom>
            <a:avLst/>
            <a:gdLst>
              <a:gd name="connsiteX0" fmla="*/ 1023562 w 1032700"/>
              <a:gd name="connsiteY0" fmla="*/ 1016677 h 1937906"/>
              <a:gd name="connsiteX1" fmla="*/ 826201 w 1032700"/>
              <a:gd name="connsiteY1" fmla="*/ 1860814 h 1937906"/>
              <a:gd name="connsiteX2" fmla="*/ 272113 w 1032700"/>
              <a:gd name="connsiteY2" fmla="*/ 1932338 h 1937906"/>
              <a:gd name="connsiteX3" fmla="*/ 73223 w 1032700"/>
              <a:gd name="connsiteY3" fmla="*/ 1455511 h 1937906"/>
              <a:gd name="connsiteX4" fmla="*/ 169353 w 1032700"/>
              <a:gd name="connsiteY4" fmla="*/ 1016677 h 1937906"/>
              <a:gd name="connsiteX5" fmla="*/ 12791 w 1032700"/>
              <a:gd name="connsiteY5" fmla="*/ 465521 h 1937906"/>
              <a:gd name="connsiteX6" fmla="*/ 520726 w 1032700"/>
              <a:gd name="connsiteY6" fmla="*/ 531053 h 1937906"/>
              <a:gd name="connsiteX7" fmla="*/ 736956 w 1032700"/>
              <a:gd name="connsiteY7" fmla="*/ 12791 h 1937906"/>
              <a:gd name="connsiteX8" fmla="*/ 1023562 w 1032700"/>
              <a:gd name="connsiteY8" fmla="*/ 1016677 h 1937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32700" h="1937906">
                <a:moveTo>
                  <a:pt x="1023562" y="1016677"/>
                </a:moveTo>
                <a:cubicBezTo>
                  <a:pt x="1023562" y="1319603"/>
                  <a:pt x="952548" y="1606336"/>
                  <a:pt x="826201" y="1860814"/>
                </a:cubicBezTo>
                <a:lnTo>
                  <a:pt x="272113" y="1932338"/>
                </a:lnTo>
                <a:lnTo>
                  <a:pt x="73223" y="1455511"/>
                </a:lnTo>
                <a:cubicBezTo>
                  <a:pt x="134930" y="1321898"/>
                  <a:pt x="169353" y="1173240"/>
                  <a:pt x="169353" y="1016677"/>
                </a:cubicBezTo>
                <a:cubicBezTo>
                  <a:pt x="169353" y="814727"/>
                  <a:pt x="112109" y="625781"/>
                  <a:pt x="12791" y="465521"/>
                </a:cubicBezTo>
                <a:lnTo>
                  <a:pt x="520726" y="531053"/>
                </a:lnTo>
                <a:lnTo>
                  <a:pt x="736956" y="12791"/>
                </a:lnTo>
                <a:cubicBezTo>
                  <a:pt x="918634" y="304369"/>
                  <a:pt x="1023562" y="648475"/>
                  <a:pt x="1023562" y="1016677"/>
                </a:cubicBezTo>
                <a:close/>
              </a:path>
            </a:pathLst>
          </a:custGeom>
          <a:solidFill>
            <a:schemeClr val="bg2"/>
          </a:solidFill>
          <a:ln w="12741" cap="flat">
            <a:noFill/>
            <a:prstDash val="solid"/>
            <a:miter/>
          </a:ln>
        </p:spPr>
        <p:txBody>
          <a:bodyPr rtlCol="0" anchor="ctr"/>
          <a:lstStyle/>
          <a:p>
            <a:pPr>
              <a:spcBef>
                <a:spcPts val="400"/>
              </a:spcBef>
            </a:pPr>
            <a:endParaRPr lang="en-US"/>
          </a:p>
        </p:txBody>
      </p:sp>
      <p:sp>
        <p:nvSpPr>
          <p:cNvPr id="55" name="Freihandform: Form 52">
            <a:extLst>
              <a:ext uri="{FF2B5EF4-FFF2-40B4-BE49-F238E27FC236}">
                <a16:creationId xmlns:a16="http://schemas.microsoft.com/office/drawing/2014/main" id="{56E36796-EA33-5859-8E69-5191CD485BC1}"/>
              </a:ext>
            </a:extLst>
          </p:cNvPr>
          <p:cNvSpPr>
            <a:spLocks/>
          </p:cNvSpPr>
          <p:nvPr/>
        </p:nvSpPr>
        <p:spPr>
          <a:xfrm>
            <a:off x="6112823" y="4417888"/>
            <a:ext cx="700183" cy="577250"/>
          </a:xfrm>
          <a:custGeom>
            <a:avLst/>
            <a:gdLst>
              <a:gd name="connsiteX0" fmla="*/ 1657844 w 1670169"/>
              <a:gd name="connsiteY0" fmla="*/ 861772 h 1376933"/>
              <a:gd name="connsiteX1" fmla="*/ 1443017 w 1670169"/>
              <a:gd name="connsiteY1" fmla="*/ 1376465 h 1376933"/>
              <a:gd name="connsiteX2" fmla="*/ 929854 w 1670169"/>
              <a:gd name="connsiteY2" fmla="*/ 1310296 h 1376933"/>
              <a:gd name="connsiteX3" fmla="*/ 73096 w 1670169"/>
              <a:gd name="connsiteY3" fmla="*/ 867000 h 1376933"/>
              <a:gd name="connsiteX4" fmla="*/ 43262 w 1670169"/>
              <a:gd name="connsiteY4" fmla="*/ 867510 h 1376933"/>
              <a:gd name="connsiteX5" fmla="*/ 353837 w 1670169"/>
              <a:gd name="connsiteY5" fmla="*/ 460549 h 1376933"/>
              <a:gd name="connsiteX6" fmla="*/ 12791 w 1670169"/>
              <a:gd name="connsiteY6" fmla="*/ 13811 h 1376933"/>
              <a:gd name="connsiteX7" fmla="*/ 73096 w 1670169"/>
              <a:gd name="connsiteY7" fmla="*/ 12791 h 1376933"/>
              <a:gd name="connsiteX8" fmla="*/ 1657844 w 1670169"/>
              <a:gd name="connsiteY8" fmla="*/ 861772 h 13769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70169" h="1376933">
                <a:moveTo>
                  <a:pt x="1657844" y="861772"/>
                </a:moveTo>
                <a:lnTo>
                  <a:pt x="1443017" y="1376465"/>
                </a:lnTo>
                <a:lnTo>
                  <a:pt x="929854" y="1310296"/>
                </a:lnTo>
                <a:cubicBezTo>
                  <a:pt x="739379" y="1042176"/>
                  <a:pt x="426254" y="867000"/>
                  <a:pt x="73096" y="867000"/>
                </a:cubicBezTo>
                <a:cubicBezTo>
                  <a:pt x="63151" y="867000"/>
                  <a:pt x="53079" y="867127"/>
                  <a:pt x="43262" y="867510"/>
                </a:cubicBezTo>
                <a:lnTo>
                  <a:pt x="353837" y="460549"/>
                </a:lnTo>
                <a:lnTo>
                  <a:pt x="12791" y="13811"/>
                </a:lnTo>
                <a:cubicBezTo>
                  <a:pt x="32807" y="13046"/>
                  <a:pt x="52952" y="12791"/>
                  <a:pt x="73096" y="12791"/>
                </a:cubicBezTo>
                <a:cubicBezTo>
                  <a:pt x="733259" y="12791"/>
                  <a:pt x="1316033" y="350267"/>
                  <a:pt x="1657844" y="861772"/>
                </a:cubicBezTo>
                <a:close/>
              </a:path>
            </a:pathLst>
          </a:custGeom>
          <a:solidFill>
            <a:schemeClr val="bg2"/>
          </a:solidFill>
          <a:ln w="12741" cap="flat">
            <a:noFill/>
            <a:prstDash val="solid"/>
            <a:miter/>
          </a:ln>
        </p:spPr>
        <p:txBody>
          <a:bodyPr rtlCol="0" anchor="ctr"/>
          <a:lstStyle/>
          <a:p>
            <a:pPr>
              <a:spcBef>
                <a:spcPts val="400"/>
              </a:spcBef>
            </a:pPr>
            <a:endParaRPr lang="en-US"/>
          </a:p>
        </p:txBody>
      </p:sp>
      <p:sp>
        <p:nvSpPr>
          <p:cNvPr id="56" name="Freihandform: Form 53">
            <a:extLst>
              <a:ext uri="{FF2B5EF4-FFF2-40B4-BE49-F238E27FC236}">
                <a16:creationId xmlns:a16="http://schemas.microsoft.com/office/drawing/2014/main" id="{0F15CC56-10BA-6095-5723-2FCB183BFF66}"/>
              </a:ext>
            </a:extLst>
          </p:cNvPr>
          <p:cNvSpPr>
            <a:spLocks/>
          </p:cNvSpPr>
          <p:nvPr/>
        </p:nvSpPr>
        <p:spPr>
          <a:xfrm>
            <a:off x="4803761" y="4424854"/>
            <a:ext cx="1430463" cy="358430"/>
          </a:xfrm>
          <a:custGeom>
            <a:avLst/>
            <a:gdLst>
              <a:gd name="connsiteX0" fmla="*/ 0 w 3412130"/>
              <a:gd name="connsiteY0" fmla="*/ 0 h 854975"/>
              <a:gd name="connsiteX1" fmla="*/ 3073379 w 3412130"/>
              <a:gd name="connsiteY1" fmla="*/ 0 h 854975"/>
              <a:gd name="connsiteX2" fmla="*/ 3412130 w 3412130"/>
              <a:gd name="connsiteY2" fmla="*/ 443934 h 854975"/>
              <a:gd name="connsiteX3" fmla="*/ 3098368 w 3412130"/>
              <a:gd name="connsiteY3" fmla="*/ 854975 h 854975"/>
              <a:gd name="connsiteX4" fmla="*/ 0 w 3412130"/>
              <a:gd name="connsiteY4" fmla="*/ 854975 h 854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12130" h="854975">
                <a:moveTo>
                  <a:pt x="0" y="0"/>
                </a:moveTo>
                <a:lnTo>
                  <a:pt x="3073379" y="0"/>
                </a:lnTo>
                <a:lnTo>
                  <a:pt x="3412130" y="443934"/>
                </a:lnTo>
                <a:lnTo>
                  <a:pt x="3098368" y="854975"/>
                </a:lnTo>
                <a:lnTo>
                  <a:pt x="0" y="854975"/>
                </a:lnTo>
                <a:close/>
              </a:path>
            </a:pathLst>
          </a:custGeom>
          <a:solidFill>
            <a:schemeClr val="bg2"/>
          </a:solidFill>
          <a:ln w="12741" cap="flat">
            <a:noFill/>
            <a:prstDash val="solid"/>
            <a:miter/>
          </a:ln>
        </p:spPr>
        <p:txBody>
          <a:bodyPr lIns="199453" rtlCol="0" anchor="ctr"/>
          <a:lstStyle/>
          <a:p>
            <a:pPr>
              <a:spcBef>
                <a:spcPts val="400"/>
              </a:spcBef>
              <a:buClr>
                <a:schemeClr val="tx2"/>
              </a:buClr>
              <a:buSzPct val="80000"/>
            </a:pPr>
            <a:endParaRPr lang="en-US" sz="900">
              <a:solidFill>
                <a:schemeClr val="bg1"/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57" name="Freihandform: Form 58">
            <a:extLst>
              <a:ext uri="{FF2B5EF4-FFF2-40B4-BE49-F238E27FC236}">
                <a16:creationId xmlns:a16="http://schemas.microsoft.com/office/drawing/2014/main" id="{9B0DAE06-D65D-1A96-56C1-4B60BAF35236}"/>
              </a:ext>
            </a:extLst>
          </p:cNvPr>
          <p:cNvSpPr>
            <a:spLocks/>
          </p:cNvSpPr>
          <p:nvPr/>
        </p:nvSpPr>
        <p:spPr>
          <a:xfrm>
            <a:off x="9113493" y="5443147"/>
            <a:ext cx="700183" cy="582595"/>
          </a:xfrm>
          <a:custGeom>
            <a:avLst/>
            <a:gdLst>
              <a:gd name="connsiteX0" fmla="*/ 1658354 w 1670169"/>
              <a:gd name="connsiteY0" fmla="*/ 1375955 h 1389682"/>
              <a:gd name="connsiteX1" fmla="*/ 1597667 w 1670169"/>
              <a:gd name="connsiteY1" fmla="*/ 1376975 h 1389682"/>
              <a:gd name="connsiteX2" fmla="*/ 12791 w 1670169"/>
              <a:gd name="connsiteY2" fmla="*/ 527866 h 1389682"/>
              <a:gd name="connsiteX3" fmla="*/ 227745 w 1670169"/>
              <a:gd name="connsiteY3" fmla="*/ 12791 h 1389682"/>
              <a:gd name="connsiteX4" fmla="*/ 740526 w 1670169"/>
              <a:gd name="connsiteY4" fmla="*/ 78960 h 1389682"/>
              <a:gd name="connsiteX5" fmla="*/ 1597667 w 1670169"/>
              <a:gd name="connsiteY5" fmla="*/ 522766 h 1389682"/>
              <a:gd name="connsiteX6" fmla="*/ 1627118 w 1670169"/>
              <a:gd name="connsiteY6" fmla="*/ 522256 h 1389682"/>
              <a:gd name="connsiteX7" fmla="*/ 1316926 w 1670169"/>
              <a:gd name="connsiteY7" fmla="*/ 928707 h 1389682"/>
              <a:gd name="connsiteX8" fmla="*/ 1658354 w 1670169"/>
              <a:gd name="connsiteY8" fmla="*/ 1375955 h 1389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70169" h="1389682">
                <a:moveTo>
                  <a:pt x="1658354" y="1375955"/>
                </a:moveTo>
                <a:cubicBezTo>
                  <a:pt x="1638210" y="1376593"/>
                  <a:pt x="1617938" y="1376975"/>
                  <a:pt x="1597667" y="1376975"/>
                </a:cubicBezTo>
                <a:cubicBezTo>
                  <a:pt x="937504" y="1376975"/>
                  <a:pt x="354729" y="1039499"/>
                  <a:pt x="12791" y="527866"/>
                </a:cubicBezTo>
                <a:lnTo>
                  <a:pt x="227745" y="12791"/>
                </a:lnTo>
                <a:lnTo>
                  <a:pt x="740526" y="78960"/>
                </a:lnTo>
                <a:cubicBezTo>
                  <a:pt x="931001" y="347335"/>
                  <a:pt x="1244254" y="522766"/>
                  <a:pt x="1597667" y="522766"/>
                </a:cubicBezTo>
                <a:cubicBezTo>
                  <a:pt x="1607484" y="522766"/>
                  <a:pt x="1617428" y="522639"/>
                  <a:pt x="1627118" y="522256"/>
                </a:cubicBezTo>
                <a:lnTo>
                  <a:pt x="1316926" y="928707"/>
                </a:lnTo>
                <a:lnTo>
                  <a:pt x="1658354" y="1375955"/>
                </a:lnTo>
                <a:close/>
              </a:path>
            </a:pathLst>
          </a:custGeom>
          <a:solidFill>
            <a:schemeClr val="bg2"/>
          </a:solidFill>
          <a:ln w="12741" cap="flat">
            <a:noFill/>
            <a:prstDash val="solid"/>
            <a:miter/>
          </a:ln>
        </p:spPr>
        <p:txBody>
          <a:bodyPr rtlCol="0" anchor="ctr"/>
          <a:lstStyle/>
          <a:p>
            <a:pPr>
              <a:spcBef>
                <a:spcPts val="400"/>
              </a:spcBef>
            </a:pPr>
            <a:endParaRPr lang="en-US"/>
          </a:p>
        </p:txBody>
      </p:sp>
      <p:sp>
        <p:nvSpPr>
          <p:cNvPr id="58" name="Freihandform: Form 59">
            <a:extLst>
              <a:ext uri="{FF2B5EF4-FFF2-40B4-BE49-F238E27FC236}">
                <a16:creationId xmlns:a16="http://schemas.microsoft.com/office/drawing/2014/main" id="{16F4DDF3-B535-5573-4DB9-4A297B934284}"/>
              </a:ext>
            </a:extLst>
          </p:cNvPr>
          <p:cNvSpPr>
            <a:spLocks/>
          </p:cNvSpPr>
          <p:nvPr/>
        </p:nvSpPr>
        <p:spPr>
          <a:xfrm>
            <a:off x="9687162" y="5425723"/>
            <a:ext cx="801737" cy="593284"/>
          </a:xfrm>
          <a:custGeom>
            <a:avLst/>
            <a:gdLst>
              <a:gd name="connsiteX0" fmla="*/ 1908242 w 1912407"/>
              <a:gd name="connsiteY0" fmla="*/ 412994 h 1415181"/>
              <a:gd name="connsiteX1" fmla="*/ 352052 w 1912407"/>
              <a:gd name="connsiteY1" fmla="*/ 1414713 h 1415181"/>
              <a:gd name="connsiteX2" fmla="*/ 351925 w 1912407"/>
              <a:gd name="connsiteY2" fmla="*/ 1414713 h 1415181"/>
              <a:gd name="connsiteX3" fmla="*/ 12791 w 1912407"/>
              <a:gd name="connsiteY3" fmla="*/ 970270 h 1415181"/>
              <a:gd name="connsiteX4" fmla="*/ 326043 w 1912407"/>
              <a:gd name="connsiteY4" fmla="*/ 559740 h 1415181"/>
              <a:gd name="connsiteX5" fmla="*/ 326171 w 1912407"/>
              <a:gd name="connsiteY5" fmla="*/ 559740 h 1415181"/>
              <a:gd name="connsiteX6" fmla="*/ 1153606 w 1912407"/>
              <a:gd name="connsiteY6" fmla="*/ 12791 h 1415181"/>
              <a:gd name="connsiteX7" fmla="*/ 1350584 w 1912407"/>
              <a:gd name="connsiteY7" fmla="*/ 484900 h 1415181"/>
              <a:gd name="connsiteX8" fmla="*/ 1908242 w 1912407"/>
              <a:gd name="connsiteY8" fmla="*/ 412994 h 14151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912407" h="1415181">
                <a:moveTo>
                  <a:pt x="1908242" y="412994"/>
                </a:moveTo>
                <a:cubicBezTo>
                  <a:pt x="1604807" y="977154"/>
                  <a:pt x="1025602" y="1371620"/>
                  <a:pt x="352052" y="1414713"/>
                </a:cubicBezTo>
                <a:lnTo>
                  <a:pt x="351925" y="1414713"/>
                </a:lnTo>
                <a:lnTo>
                  <a:pt x="12791" y="970270"/>
                </a:lnTo>
                <a:lnTo>
                  <a:pt x="326043" y="559740"/>
                </a:lnTo>
                <a:lnTo>
                  <a:pt x="326171" y="559740"/>
                </a:lnTo>
                <a:cubicBezTo>
                  <a:pt x="683919" y="527101"/>
                  <a:pt x="990286" y="314059"/>
                  <a:pt x="1153606" y="12791"/>
                </a:cubicBezTo>
                <a:lnTo>
                  <a:pt x="1350584" y="484900"/>
                </a:lnTo>
                <a:lnTo>
                  <a:pt x="1908242" y="412994"/>
                </a:lnTo>
                <a:close/>
              </a:path>
            </a:pathLst>
          </a:custGeom>
          <a:solidFill>
            <a:schemeClr val="bg2"/>
          </a:solidFill>
          <a:ln w="12741" cap="flat">
            <a:noFill/>
            <a:prstDash val="solid"/>
            <a:miter/>
          </a:ln>
        </p:spPr>
        <p:txBody>
          <a:bodyPr rtlCol="0" anchor="ctr"/>
          <a:lstStyle/>
          <a:p>
            <a:pPr>
              <a:spcBef>
                <a:spcPts val="400"/>
              </a:spcBef>
            </a:pPr>
            <a:endParaRPr lang="en-US"/>
          </a:p>
        </p:txBody>
      </p:sp>
      <p:sp>
        <p:nvSpPr>
          <p:cNvPr id="59" name="Freihandform: Form 64">
            <a:extLst>
              <a:ext uri="{FF2B5EF4-FFF2-40B4-BE49-F238E27FC236}">
                <a16:creationId xmlns:a16="http://schemas.microsoft.com/office/drawing/2014/main" id="{78ACF1E6-8297-EC88-8515-3E498539ECB1}"/>
              </a:ext>
            </a:extLst>
          </p:cNvPr>
          <p:cNvSpPr>
            <a:spLocks/>
          </p:cNvSpPr>
          <p:nvPr/>
        </p:nvSpPr>
        <p:spPr>
          <a:xfrm>
            <a:off x="8980830" y="4831797"/>
            <a:ext cx="427593" cy="812425"/>
          </a:xfrm>
          <a:custGeom>
            <a:avLst/>
            <a:gdLst>
              <a:gd name="connsiteX0" fmla="*/ 293666 w 1019950"/>
              <a:gd name="connsiteY0" fmla="*/ 1930936 h 1937906"/>
              <a:gd name="connsiteX1" fmla="*/ 262685 w 1019950"/>
              <a:gd name="connsiteY1" fmla="*/ 1878663 h 1937906"/>
              <a:gd name="connsiteX2" fmla="*/ 215002 w 1019950"/>
              <a:gd name="connsiteY2" fmla="*/ 81255 h 1937906"/>
              <a:gd name="connsiteX3" fmla="*/ 768963 w 1019950"/>
              <a:gd name="connsiteY3" fmla="*/ 12791 h 1937906"/>
              <a:gd name="connsiteX4" fmla="*/ 965559 w 1019950"/>
              <a:gd name="connsiteY4" fmla="*/ 491020 h 1937906"/>
              <a:gd name="connsiteX5" fmla="*/ 1004699 w 1019950"/>
              <a:gd name="connsiteY5" fmla="*/ 1455511 h 1937906"/>
              <a:gd name="connsiteX6" fmla="*/ 1019743 w 1019950"/>
              <a:gd name="connsiteY6" fmla="*/ 1480882 h 1937906"/>
              <a:gd name="connsiteX7" fmla="*/ 512955 w 1019950"/>
              <a:gd name="connsiteY7" fmla="*/ 1412801 h 1937906"/>
              <a:gd name="connsiteX8" fmla="*/ 293666 w 1019950"/>
              <a:gd name="connsiteY8" fmla="*/ 1930936 h 1937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19950" h="1937906">
                <a:moveTo>
                  <a:pt x="293666" y="1930936"/>
                </a:moveTo>
                <a:cubicBezTo>
                  <a:pt x="283084" y="1913724"/>
                  <a:pt x="272757" y="1896385"/>
                  <a:pt x="262685" y="1878663"/>
                </a:cubicBezTo>
                <a:cubicBezTo>
                  <a:pt x="-64337" y="1305196"/>
                  <a:pt x="-60002" y="631773"/>
                  <a:pt x="215002" y="81255"/>
                </a:cubicBezTo>
                <a:lnTo>
                  <a:pt x="768963" y="12791"/>
                </a:lnTo>
                <a:lnTo>
                  <a:pt x="965559" y="491020"/>
                </a:lnTo>
                <a:cubicBezTo>
                  <a:pt x="826845" y="789483"/>
                  <a:pt x="829650" y="1148506"/>
                  <a:pt x="1004699" y="1455511"/>
                </a:cubicBezTo>
                <a:cubicBezTo>
                  <a:pt x="1009544" y="1464053"/>
                  <a:pt x="1014644" y="1472595"/>
                  <a:pt x="1019743" y="1480882"/>
                </a:cubicBezTo>
                <a:lnTo>
                  <a:pt x="512955" y="1412801"/>
                </a:lnTo>
                <a:lnTo>
                  <a:pt x="293666" y="1930936"/>
                </a:lnTo>
                <a:close/>
              </a:path>
            </a:pathLst>
          </a:custGeom>
          <a:solidFill>
            <a:schemeClr val="bg2"/>
          </a:solidFill>
          <a:ln w="12741" cap="flat">
            <a:noFill/>
            <a:prstDash val="solid"/>
            <a:miter/>
          </a:ln>
        </p:spPr>
        <p:txBody>
          <a:bodyPr rtlCol="0" anchor="ctr"/>
          <a:lstStyle/>
          <a:p>
            <a:pPr>
              <a:spcBef>
                <a:spcPts val="400"/>
              </a:spcBef>
            </a:pPr>
            <a:endParaRPr lang="en-US"/>
          </a:p>
        </p:txBody>
      </p:sp>
      <p:sp>
        <p:nvSpPr>
          <p:cNvPr id="60" name="Freihandform: Form 65">
            <a:extLst>
              <a:ext uri="{FF2B5EF4-FFF2-40B4-BE49-F238E27FC236}">
                <a16:creationId xmlns:a16="http://schemas.microsoft.com/office/drawing/2014/main" id="{73D5B5B9-9FB2-87FE-EA98-792542CAFFC7}"/>
              </a:ext>
            </a:extLst>
          </p:cNvPr>
          <p:cNvSpPr>
            <a:spLocks/>
          </p:cNvSpPr>
          <p:nvPr/>
        </p:nvSpPr>
        <p:spPr>
          <a:xfrm>
            <a:off x="10152757" y="4795612"/>
            <a:ext cx="432938" cy="812425"/>
          </a:xfrm>
          <a:custGeom>
            <a:avLst/>
            <a:gdLst>
              <a:gd name="connsiteX0" fmla="*/ 1023562 w 1032700"/>
              <a:gd name="connsiteY0" fmla="*/ 1016677 h 1937906"/>
              <a:gd name="connsiteX1" fmla="*/ 826201 w 1032700"/>
              <a:gd name="connsiteY1" fmla="*/ 1860814 h 1937906"/>
              <a:gd name="connsiteX2" fmla="*/ 272113 w 1032700"/>
              <a:gd name="connsiteY2" fmla="*/ 1932338 h 1937906"/>
              <a:gd name="connsiteX3" fmla="*/ 73223 w 1032700"/>
              <a:gd name="connsiteY3" fmla="*/ 1455511 h 1937906"/>
              <a:gd name="connsiteX4" fmla="*/ 169353 w 1032700"/>
              <a:gd name="connsiteY4" fmla="*/ 1016677 h 1937906"/>
              <a:gd name="connsiteX5" fmla="*/ 12791 w 1032700"/>
              <a:gd name="connsiteY5" fmla="*/ 465521 h 1937906"/>
              <a:gd name="connsiteX6" fmla="*/ 520726 w 1032700"/>
              <a:gd name="connsiteY6" fmla="*/ 531053 h 1937906"/>
              <a:gd name="connsiteX7" fmla="*/ 736956 w 1032700"/>
              <a:gd name="connsiteY7" fmla="*/ 12791 h 1937906"/>
              <a:gd name="connsiteX8" fmla="*/ 1023562 w 1032700"/>
              <a:gd name="connsiteY8" fmla="*/ 1016677 h 1937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32700" h="1937906">
                <a:moveTo>
                  <a:pt x="1023562" y="1016677"/>
                </a:moveTo>
                <a:cubicBezTo>
                  <a:pt x="1023562" y="1319603"/>
                  <a:pt x="952548" y="1606336"/>
                  <a:pt x="826201" y="1860814"/>
                </a:cubicBezTo>
                <a:lnTo>
                  <a:pt x="272113" y="1932338"/>
                </a:lnTo>
                <a:lnTo>
                  <a:pt x="73223" y="1455511"/>
                </a:lnTo>
                <a:cubicBezTo>
                  <a:pt x="134930" y="1321898"/>
                  <a:pt x="169353" y="1173240"/>
                  <a:pt x="169353" y="1016677"/>
                </a:cubicBezTo>
                <a:cubicBezTo>
                  <a:pt x="169353" y="814727"/>
                  <a:pt x="112109" y="625781"/>
                  <a:pt x="12791" y="465521"/>
                </a:cubicBezTo>
                <a:lnTo>
                  <a:pt x="520726" y="531053"/>
                </a:lnTo>
                <a:lnTo>
                  <a:pt x="736956" y="12791"/>
                </a:lnTo>
                <a:cubicBezTo>
                  <a:pt x="918634" y="304369"/>
                  <a:pt x="1023562" y="648475"/>
                  <a:pt x="1023562" y="1016677"/>
                </a:cubicBezTo>
                <a:close/>
              </a:path>
            </a:pathLst>
          </a:custGeom>
          <a:solidFill>
            <a:schemeClr val="bg2"/>
          </a:solidFill>
          <a:ln w="12741" cap="flat">
            <a:noFill/>
            <a:prstDash val="solid"/>
            <a:miter/>
          </a:ln>
        </p:spPr>
        <p:txBody>
          <a:bodyPr rtlCol="0" anchor="ctr"/>
          <a:lstStyle/>
          <a:p>
            <a:pPr>
              <a:spcBef>
                <a:spcPts val="400"/>
              </a:spcBef>
            </a:pPr>
            <a:endParaRPr lang="en-US"/>
          </a:p>
        </p:txBody>
      </p:sp>
      <p:sp>
        <p:nvSpPr>
          <p:cNvPr id="61" name="Freihandform: Form 61">
            <a:extLst>
              <a:ext uri="{FF2B5EF4-FFF2-40B4-BE49-F238E27FC236}">
                <a16:creationId xmlns:a16="http://schemas.microsoft.com/office/drawing/2014/main" id="{B28D8F36-1537-8D35-B523-9B97C5499925}"/>
              </a:ext>
            </a:extLst>
          </p:cNvPr>
          <p:cNvSpPr>
            <a:spLocks/>
          </p:cNvSpPr>
          <p:nvPr/>
        </p:nvSpPr>
        <p:spPr>
          <a:xfrm>
            <a:off x="9752637" y="4417888"/>
            <a:ext cx="700183" cy="577250"/>
          </a:xfrm>
          <a:custGeom>
            <a:avLst/>
            <a:gdLst>
              <a:gd name="connsiteX0" fmla="*/ 1657844 w 1670169"/>
              <a:gd name="connsiteY0" fmla="*/ 861772 h 1376933"/>
              <a:gd name="connsiteX1" fmla="*/ 1443017 w 1670169"/>
              <a:gd name="connsiteY1" fmla="*/ 1376465 h 1376933"/>
              <a:gd name="connsiteX2" fmla="*/ 929854 w 1670169"/>
              <a:gd name="connsiteY2" fmla="*/ 1310296 h 1376933"/>
              <a:gd name="connsiteX3" fmla="*/ 73096 w 1670169"/>
              <a:gd name="connsiteY3" fmla="*/ 867000 h 1376933"/>
              <a:gd name="connsiteX4" fmla="*/ 43262 w 1670169"/>
              <a:gd name="connsiteY4" fmla="*/ 867510 h 1376933"/>
              <a:gd name="connsiteX5" fmla="*/ 353837 w 1670169"/>
              <a:gd name="connsiteY5" fmla="*/ 460549 h 1376933"/>
              <a:gd name="connsiteX6" fmla="*/ 12791 w 1670169"/>
              <a:gd name="connsiteY6" fmla="*/ 13811 h 1376933"/>
              <a:gd name="connsiteX7" fmla="*/ 73096 w 1670169"/>
              <a:gd name="connsiteY7" fmla="*/ 12791 h 1376933"/>
              <a:gd name="connsiteX8" fmla="*/ 1657844 w 1670169"/>
              <a:gd name="connsiteY8" fmla="*/ 861772 h 13769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70169" h="1376933">
                <a:moveTo>
                  <a:pt x="1657844" y="861772"/>
                </a:moveTo>
                <a:lnTo>
                  <a:pt x="1443017" y="1376465"/>
                </a:lnTo>
                <a:lnTo>
                  <a:pt x="929854" y="1310296"/>
                </a:lnTo>
                <a:cubicBezTo>
                  <a:pt x="739379" y="1042176"/>
                  <a:pt x="426254" y="867000"/>
                  <a:pt x="73096" y="867000"/>
                </a:cubicBezTo>
                <a:cubicBezTo>
                  <a:pt x="63151" y="867000"/>
                  <a:pt x="53079" y="867127"/>
                  <a:pt x="43262" y="867510"/>
                </a:cubicBezTo>
                <a:lnTo>
                  <a:pt x="353837" y="460549"/>
                </a:lnTo>
                <a:lnTo>
                  <a:pt x="12791" y="13811"/>
                </a:lnTo>
                <a:cubicBezTo>
                  <a:pt x="32807" y="13046"/>
                  <a:pt x="52952" y="12791"/>
                  <a:pt x="73096" y="12791"/>
                </a:cubicBezTo>
                <a:cubicBezTo>
                  <a:pt x="733259" y="12791"/>
                  <a:pt x="1316033" y="350267"/>
                  <a:pt x="1657844" y="861772"/>
                </a:cubicBezTo>
                <a:close/>
              </a:path>
            </a:pathLst>
          </a:custGeom>
          <a:solidFill>
            <a:schemeClr val="bg2"/>
          </a:solidFill>
          <a:ln w="12741" cap="flat">
            <a:noFill/>
            <a:prstDash val="solid"/>
            <a:miter/>
          </a:ln>
        </p:spPr>
        <p:txBody>
          <a:bodyPr rtlCol="0" anchor="ctr"/>
          <a:lstStyle/>
          <a:p>
            <a:pPr>
              <a:spcBef>
                <a:spcPts val="400"/>
              </a:spcBef>
            </a:pPr>
            <a:endParaRPr lang="en-US"/>
          </a:p>
        </p:txBody>
      </p:sp>
      <p:sp>
        <p:nvSpPr>
          <p:cNvPr id="62" name="Freihandform: Form 62">
            <a:extLst>
              <a:ext uri="{FF2B5EF4-FFF2-40B4-BE49-F238E27FC236}">
                <a16:creationId xmlns:a16="http://schemas.microsoft.com/office/drawing/2014/main" id="{FF462FD8-5E8B-DE3F-FE4C-C63B3BE81FCC}"/>
              </a:ext>
            </a:extLst>
          </p:cNvPr>
          <p:cNvSpPr>
            <a:spLocks/>
          </p:cNvSpPr>
          <p:nvPr/>
        </p:nvSpPr>
        <p:spPr>
          <a:xfrm>
            <a:off x="8443575" y="4424854"/>
            <a:ext cx="1430463" cy="358430"/>
          </a:xfrm>
          <a:custGeom>
            <a:avLst/>
            <a:gdLst>
              <a:gd name="connsiteX0" fmla="*/ 0 w 3412130"/>
              <a:gd name="connsiteY0" fmla="*/ 0 h 854975"/>
              <a:gd name="connsiteX1" fmla="*/ 3073379 w 3412130"/>
              <a:gd name="connsiteY1" fmla="*/ 0 h 854975"/>
              <a:gd name="connsiteX2" fmla="*/ 3412130 w 3412130"/>
              <a:gd name="connsiteY2" fmla="*/ 443934 h 854975"/>
              <a:gd name="connsiteX3" fmla="*/ 3098368 w 3412130"/>
              <a:gd name="connsiteY3" fmla="*/ 854975 h 854975"/>
              <a:gd name="connsiteX4" fmla="*/ 0 w 3412130"/>
              <a:gd name="connsiteY4" fmla="*/ 854975 h 854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12130" h="854975">
                <a:moveTo>
                  <a:pt x="0" y="0"/>
                </a:moveTo>
                <a:lnTo>
                  <a:pt x="3073379" y="0"/>
                </a:lnTo>
                <a:lnTo>
                  <a:pt x="3412130" y="443934"/>
                </a:lnTo>
                <a:lnTo>
                  <a:pt x="3098368" y="854975"/>
                </a:lnTo>
                <a:lnTo>
                  <a:pt x="0" y="854975"/>
                </a:lnTo>
                <a:close/>
              </a:path>
            </a:pathLst>
          </a:custGeom>
          <a:solidFill>
            <a:schemeClr val="bg2"/>
          </a:solidFill>
          <a:ln w="12741" cap="flat">
            <a:noFill/>
            <a:prstDash val="solid"/>
            <a:miter/>
          </a:ln>
        </p:spPr>
        <p:txBody>
          <a:bodyPr lIns="199453" rtlCol="0" anchor="ctr"/>
          <a:lstStyle/>
          <a:p>
            <a:pPr>
              <a:spcBef>
                <a:spcPts val="400"/>
              </a:spcBef>
              <a:buClr>
                <a:schemeClr val="tx2"/>
              </a:buClr>
              <a:buSzPct val="80000"/>
            </a:pPr>
            <a:endParaRPr lang="en-US" sz="900">
              <a:solidFill>
                <a:schemeClr val="bg1"/>
              </a:solidFill>
              <a:ea typeface="Verdana" pitchFamily="34" charset="0"/>
              <a:cs typeface="Verdana" pitchFamily="34" charset="0"/>
            </a:endParaRPr>
          </a:p>
        </p:txBody>
      </p:sp>
      <p:pic>
        <p:nvPicPr>
          <p:cNvPr id="63" name="Grafik 67">
            <a:extLst>
              <a:ext uri="{FF2B5EF4-FFF2-40B4-BE49-F238E27FC236}">
                <a16:creationId xmlns:a16="http://schemas.microsoft.com/office/drawing/2014/main" id="{B6D3F47C-4D90-3D41-A4B2-F48F1EE507E5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9503586" y="4943475"/>
            <a:ext cx="556670" cy="556670"/>
          </a:xfrm>
          <a:prstGeom prst="rect">
            <a:avLst/>
          </a:prstGeom>
        </p:spPr>
      </p:pic>
      <p:pic>
        <p:nvPicPr>
          <p:cNvPr id="64" name="Grafik 69">
            <a:extLst>
              <a:ext uri="{FF2B5EF4-FFF2-40B4-BE49-F238E27FC236}">
                <a16:creationId xmlns:a16="http://schemas.microsoft.com/office/drawing/2014/main" id="{EEE44D2E-0494-9653-FEA1-7BCB26915605}"/>
              </a:ext>
            </a:extLst>
          </p:cNvPr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5863772" y="4943475"/>
            <a:ext cx="556670" cy="556670"/>
          </a:xfrm>
          <a:prstGeom prst="rect">
            <a:avLst/>
          </a:prstGeom>
        </p:spPr>
      </p:pic>
      <p:pic>
        <p:nvPicPr>
          <p:cNvPr id="65" name="Grafik 71">
            <a:extLst>
              <a:ext uri="{FF2B5EF4-FFF2-40B4-BE49-F238E27FC236}">
                <a16:creationId xmlns:a16="http://schemas.microsoft.com/office/drawing/2014/main" id="{F6A664EC-1207-E32D-56D3-356B211BBFFD}"/>
              </a:ext>
            </a:extLst>
          </p:cNvPr>
          <p:cNvPicPr>
            <a:picLocks noChangeAspect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2223959" y="4943475"/>
            <a:ext cx="556670" cy="556670"/>
          </a:xfrm>
          <a:prstGeom prst="rect">
            <a:avLst/>
          </a:prstGeom>
        </p:spPr>
      </p:pic>
      <p:sp>
        <p:nvSpPr>
          <p:cNvPr id="66" name="Rechteck 72">
            <a:extLst>
              <a:ext uri="{FF2B5EF4-FFF2-40B4-BE49-F238E27FC236}">
                <a16:creationId xmlns:a16="http://schemas.microsoft.com/office/drawing/2014/main" id="{40DE2B89-F42B-9C41-C5CC-813BFEB2050B}"/>
              </a:ext>
            </a:extLst>
          </p:cNvPr>
          <p:cNvSpPr>
            <a:spLocks/>
          </p:cNvSpPr>
          <p:nvPr/>
        </p:nvSpPr>
        <p:spPr>
          <a:xfrm>
            <a:off x="407988" y="1563945"/>
            <a:ext cx="5525862" cy="1647824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Ins="180000" bIns="144000" rtlCol="0" anchor="t"/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2400" dirty="0">
                <a:solidFill>
                  <a:schemeClr val="tx2"/>
                </a:solidFill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  <a:sym typeface="Futura"/>
              </a:rPr>
              <a:t>{subtitle_1}</a:t>
            </a:r>
          </a:p>
          <a:p>
            <a:pPr>
              <a:spcAft>
                <a:spcPts val="1200"/>
              </a:spcAft>
              <a:buClr>
                <a:srgbClr val="000000"/>
              </a:buClr>
            </a:pPr>
            <a:r>
              <a:rPr lang="en-US" sz="1400" b="1" dirty="0">
                <a:solidFill>
                  <a:schemeClr val="accent1"/>
                </a:solidFill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  <a:sym typeface="Futura"/>
              </a:rPr>
              <a:t>{subtitle_1_bullet}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0000"/>
                </a:solidFill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  <a:sym typeface="Futura"/>
              </a:rPr>
              <a:t>{subtitle_1_bullet_content}</a:t>
            </a:r>
            <a:endParaRPr lang="en-US" sz="1400" b="1" dirty="0">
              <a:solidFill>
                <a:schemeClr val="accent1"/>
              </a:solidFill>
              <a:latin typeface="理想品牌字体 2022" panose="02000500000000000000" pitchFamily="50" charset="-122"/>
              <a:ea typeface="理想品牌字体 2022" panose="02000500000000000000" pitchFamily="50" charset="-122"/>
              <a:cs typeface="理想品牌字体 2022" panose="02000500000000000000" pitchFamily="50" charset="-122"/>
              <a:sym typeface="Futura"/>
            </a:endParaRPr>
          </a:p>
        </p:txBody>
      </p:sp>
      <p:sp>
        <p:nvSpPr>
          <p:cNvPr id="67" name="Rechteck 73">
            <a:extLst>
              <a:ext uri="{FF2B5EF4-FFF2-40B4-BE49-F238E27FC236}">
                <a16:creationId xmlns:a16="http://schemas.microsoft.com/office/drawing/2014/main" id="{82FA7F68-3230-9165-84AC-416389FC1534}"/>
              </a:ext>
            </a:extLst>
          </p:cNvPr>
          <p:cNvSpPr>
            <a:spLocks/>
          </p:cNvSpPr>
          <p:nvPr/>
        </p:nvSpPr>
        <p:spPr>
          <a:xfrm>
            <a:off x="6294548" y="1563945"/>
            <a:ext cx="5525862" cy="1647824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Ins="180000" bIns="144000" rtlCol="0" anchor="t"/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2400" dirty="0">
                <a:solidFill>
                  <a:schemeClr val="tx2"/>
                </a:solidFill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  <a:sym typeface="Futura"/>
              </a:rPr>
              <a:t>{subtitle_2}</a:t>
            </a:r>
          </a:p>
          <a:p>
            <a:pPr>
              <a:spcAft>
                <a:spcPts val="1200"/>
              </a:spcAft>
              <a:buClr>
                <a:srgbClr val="000000"/>
              </a:buClr>
            </a:pPr>
            <a:r>
              <a:rPr lang="en-US" sz="1400" b="1" dirty="0">
                <a:solidFill>
                  <a:schemeClr val="accent1"/>
                </a:solidFill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  <a:sym typeface="Futura"/>
              </a:rPr>
              <a:t>{subtitle_2_bullet}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0000"/>
                </a:solidFill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  <a:sym typeface="Futura"/>
              </a:rPr>
              <a:t>{subtitle_2_bullet_content}</a:t>
            </a:r>
          </a:p>
          <a:p>
            <a:pPr>
              <a:buClr>
                <a:srgbClr val="000000"/>
              </a:buClr>
            </a:pPr>
            <a:endParaRPr lang="en-US" sz="1400" b="1" dirty="0">
              <a:solidFill>
                <a:schemeClr val="accent1"/>
              </a:solidFill>
              <a:sym typeface="Futura"/>
            </a:endParaRPr>
          </a:p>
        </p:txBody>
      </p:sp>
      <p:sp>
        <p:nvSpPr>
          <p:cNvPr id="6" name="Text Placeholder 15">
            <a:extLst>
              <a:ext uri="{FF2B5EF4-FFF2-40B4-BE49-F238E27FC236}">
                <a16:creationId xmlns:a16="http://schemas.microsoft.com/office/drawing/2014/main" id="{344E3E1C-FE9E-A7AB-2A25-AA2E0BC8947F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4752904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>
                <a:solidFill>
                  <a:schemeClr val="tx2"/>
                </a:solidFill>
              </a:rPr>
              <a:t>timeline, timelines, milestone, milestones, sprints, plan, plans, icon, icons</a:t>
            </a:r>
          </a:p>
        </p:txBody>
      </p:sp>
    </p:spTree>
    <p:extLst>
      <p:ext uri="{BB962C8B-B14F-4D97-AF65-F5344CB8AC3E}">
        <p14:creationId xmlns:p14="http://schemas.microsoft.com/office/powerpoint/2010/main" val="12869751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Props1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79</Words>
  <Application>Microsoft Office PowerPoint</Application>
  <PresentationFormat>宽屏</PresentationFormat>
  <Paragraphs>11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4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7" baseType="lpstr"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9-15T08:37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